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9" r:id="rId4"/>
  </p:sldMasterIdLst>
  <p:notesMasterIdLst>
    <p:notesMasterId r:id="rId8"/>
  </p:notesMasterIdLst>
  <p:handoutMasterIdLst>
    <p:handoutMasterId r:id="rId9"/>
  </p:handoutMasterIdLst>
  <p:sldIdLst>
    <p:sldId id="294" r:id="rId5"/>
    <p:sldId id="303" r:id="rId6"/>
    <p:sldId id="305" r:id="rId7"/>
  </p:sldIdLst>
  <p:sldSz cx="11522075" cy="6480175"/>
  <p:notesSz cx="6858000" cy="9144000"/>
  <p:custDataLst>
    <p:tags r:id="rId10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AF5FE6-ECA9-6496-A448-49721219530B}" name="Jarzab, Marcin (ext)" initials="JM(" userId="S::marcin.jarzab@external.telekom.de::b5b45062-3d14-4a71-98a7-9d4be96a208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00"/>
    <a:srgbClr val="E20074"/>
    <a:srgbClr val="000000"/>
    <a:srgbClr val="992C99"/>
    <a:srgbClr val="4B4B4B"/>
    <a:srgbClr val="C4C4C4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536" autoAdjust="0"/>
    <p:restoredTop sz="94218" autoAdjust="0"/>
  </p:normalViewPr>
  <p:slideViewPr>
    <p:cSldViewPr snapToGrid="0" snapToObjects="1">
      <p:cViewPr>
        <p:scale>
          <a:sx n="125" d="100"/>
          <a:sy n="125" d="100"/>
        </p:scale>
        <p:origin x="1104" y="216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18" d="100"/>
          <a:sy n="118" d="100"/>
        </p:scale>
        <p:origin x="5004" y="102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Grotesk Next" pitchFamily="2" charset="0"/>
              </a:rPr>
              <a:pPr/>
              <a:t>‹#›</a:t>
            </a:fld>
            <a:endParaRPr lang="de-DE" dirty="0">
              <a:latin typeface="TeleGrotesk Next" pitchFamily="2" charset="0"/>
            </a:endParaRPr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482600" y="390525"/>
            <a:ext cx="66675" cy="65088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2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2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82625" y="390525"/>
            <a:ext cx="65088" cy="65088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0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0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879475" y="390525"/>
            <a:ext cx="65088" cy="65088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1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1074738" y="390525"/>
            <a:ext cx="66675" cy="65088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1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82600" y="241300"/>
            <a:ext cx="265113" cy="323850"/>
          </a:xfrm>
          <a:custGeom>
            <a:avLst/>
            <a:gdLst>
              <a:gd name="T0" fmla="*/ 402 w 407"/>
              <a:gd name="T1" fmla="*/ 0 h 496"/>
              <a:gd name="T2" fmla="*/ 5 w 407"/>
              <a:gd name="T3" fmla="*/ 0 h 496"/>
              <a:gd name="T4" fmla="*/ 0 w 407"/>
              <a:gd name="T5" fmla="*/ 175 h 496"/>
              <a:gd name="T6" fmla="*/ 26 w 407"/>
              <a:gd name="T7" fmla="*/ 179 h 496"/>
              <a:gd name="T8" fmla="*/ 67 w 407"/>
              <a:gd name="T9" fmla="*/ 64 h 496"/>
              <a:gd name="T10" fmla="*/ 164 w 407"/>
              <a:gd name="T11" fmla="*/ 23 h 496"/>
              <a:gd name="T12" fmla="*/ 164 w 407"/>
              <a:gd name="T13" fmla="*/ 390 h 496"/>
              <a:gd name="T14" fmla="*/ 150 w 407"/>
              <a:gd name="T15" fmla="*/ 452 h 496"/>
              <a:gd name="T16" fmla="*/ 110 w 407"/>
              <a:gd name="T17" fmla="*/ 467 h 496"/>
              <a:gd name="T18" fmla="*/ 81 w 407"/>
              <a:gd name="T19" fmla="*/ 468 h 496"/>
              <a:gd name="T20" fmla="*/ 81 w 407"/>
              <a:gd name="T21" fmla="*/ 496 h 496"/>
              <a:gd name="T22" fmla="*/ 326 w 407"/>
              <a:gd name="T23" fmla="*/ 496 h 496"/>
              <a:gd name="T24" fmla="*/ 326 w 407"/>
              <a:gd name="T25" fmla="*/ 468 h 496"/>
              <a:gd name="T26" fmla="*/ 297 w 407"/>
              <a:gd name="T27" fmla="*/ 467 h 496"/>
              <a:gd name="T28" fmla="*/ 257 w 407"/>
              <a:gd name="T29" fmla="*/ 452 h 496"/>
              <a:gd name="T30" fmla="*/ 243 w 407"/>
              <a:gd name="T31" fmla="*/ 390 h 496"/>
              <a:gd name="T32" fmla="*/ 243 w 407"/>
              <a:gd name="T33" fmla="*/ 23 h 496"/>
              <a:gd name="T34" fmla="*/ 340 w 407"/>
              <a:gd name="T35" fmla="*/ 64 h 496"/>
              <a:gd name="T36" fmla="*/ 381 w 407"/>
              <a:gd name="T37" fmla="*/ 179 h 496"/>
              <a:gd name="T38" fmla="*/ 407 w 407"/>
              <a:gd name="T39" fmla="*/ 175 h 496"/>
              <a:gd name="T40" fmla="*/ 402 w 407"/>
              <a:gd name="T41" fmla="*/ 0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07" h="496">
                <a:moveTo>
                  <a:pt x="402" y="0"/>
                </a:moveTo>
                <a:cubicBezTo>
                  <a:pt x="5" y="0"/>
                  <a:pt x="5" y="0"/>
                  <a:pt x="5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26" y="179"/>
                  <a:pt x="26" y="179"/>
                  <a:pt x="26" y="179"/>
                </a:cubicBezTo>
                <a:cubicBezTo>
                  <a:pt x="31" y="128"/>
                  <a:pt x="45" y="89"/>
                  <a:pt x="67" y="64"/>
                </a:cubicBezTo>
                <a:cubicBezTo>
                  <a:pt x="90" y="38"/>
                  <a:pt x="122" y="25"/>
                  <a:pt x="164" y="23"/>
                </a:cubicBezTo>
                <a:cubicBezTo>
                  <a:pt x="164" y="390"/>
                  <a:pt x="164" y="390"/>
                  <a:pt x="164" y="390"/>
                </a:cubicBezTo>
                <a:cubicBezTo>
                  <a:pt x="164" y="422"/>
                  <a:pt x="159" y="442"/>
                  <a:pt x="150" y="452"/>
                </a:cubicBezTo>
                <a:cubicBezTo>
                  <a:pt x="142" y="460"/>
                  <a:pt x="129" y="465"/>
                  <a:pt x="110" y="467"/>
                </a:cubicBezTo>
                <a:cubicBezTo>
                  <a:pt x="104" y="467"/>
                  <a:pt x="95" y="468"/>
                  <a:pt x="81" y="468"/>
                </a:cubicBezTo>
                <a:cubicBezTo>
                  <a:pt x="81" y="496"/>
                  <a:pt x="81" y="496"/>
                  <a:pt x="81" y="496"/>
                </a:cubicBezTo>
                <a:cubicBezTo>
                  <a:pt x="326" y="496"/>
                  <a:pt x="326" y="496"/>
                  <a:pt x="326" y="496"/>
                </a:cubicBezTo>
                <a:cubicBezTo>
                  <a:pt x="326" y="468"/>
                  <a:pt x="326" y="468"/>
                  <a:pt x="326" y="468"/>
                </a:cubicBezTo>
                <a:cubicBezTo>
                  <a:pt x="312" y="468"/>
                  <a:pt x="303" y="467"/>
                  <a:pt x="297" y="467"/>
                </a:cubicBezTo>
                <a:cubicBezTo>
                  <a:pt x="278" y="465"/>
                  <a:pt x="265" y="460"/>
                  <a:pt x="257" y="452"/>
                </a:cubicBezTo>
                <a:cubicBezTo>
                  <a:pt x="248" y="442"/>
                  <a:pt x="243" y="422"/>
                  <a:pt x="243" y="390"/>
                </a:cubicBezTo>
                <a:cubicBezTo>
                  <a:pt x="243" y="23"/>
                  <a:pt x="243" y="23"/>
                  <a:pt x="243" y="23"/>
                </a:cubicBezTo>
                <a:cubicBezTo>
                  <a:pt x="284" y="25"/>
                  <a:pt x="317" y="38"/>
                  <a:pt x="340" y="64"/>
                </a:cubicBezTo>
                <a:cubicBezTo>
                  <a:pt x="362" y="89"/>
                  <a:pt x="376" y="128"/>
                  <a:pt x="381" y="179"/>
                </a:cubicBezTo>
                <a:cubicBezTo>
                  <a:pt x="407" y="175"/>
                  <a:pt x="407" y="175"/>
                  <a:pt x="407" y="175"/>
                </a:cubicBezTo>
                <a:lnTo>
                  <a:pt x="40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grpSp>
        <p:nvGrpSpPr>
          <p:cNvPr id="32" name="Gruppieren 31"/>
          <p:cNvGrpSpPr/>
          <p:nvPr/>
        </p:nvGrpSpPr>
        <p:grpSpPr>
          <a:xfrm>
            <a:off x="5254625" y="379413"/>
            <a:ext cx="1119188" cy="85725"/>
            <a:chOff x="1533525" y="379413"/>
            <a:chExt cx="1119188" cy="85725"/>
          </a:xfrm>
        </p:grpSpPr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1533525" y="381000"/>
              <a:ext cx="50800" cy="82550"/>
            </a:xfrm>
            <a:custGeom>
              <a:avLst/>
              <a:gdLst>
                <a:gd name="T0" fmla="*/ 0 w 32"/>
                <a:gd name="T1" fmla="*/ 52 h 52"/>
                <a:gd name="T2" fmla="*/ 0 w 32"/>
                <a:gd name="T3" fmla="*/ 0 h 52"/>
                <a:gd name="T4" fmla="*/ 11 w 32"/>
                <a:gd name="T5" fmla="*/ 0 h 52"/>
                <a:gd name="T6" fmla="*/ 11 w 32"/>
                <a:gd name="T7" fmla="*/ 42 h 52"/>
                <a:gd name="T8" fmla="*/ 32 w 32"/>
                <a:gd name="T9" fmla="*/ 42 h 52"/>
                <a:gd name="T10" fmla="*/ 32 w 32"/>
                <a:gd name="T11" fmla="*/ 52 h 52"/>
                <a:gd name="T12" fmla="*/ 0 w 32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42"/>
                  </a:lnTo>
                  <a:lnTo>
                    <a:pt x="32" y="42"/>
                  </a:lnTo>
                  <a:lnTo>
                    <a:pt x="32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5938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627188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9 w 31"/>
                <a:gd name="T13" fmla="*/ 22 h 52"/>
                <a:gd name="T14" fmla="*/ 29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9" y="22"/>
                  </a:lnTo>
                  <a:lnTo>
                    <a:pt x="29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1687513" y="381000"/>
              <a:ext cx="53975" cy="82550"/>
            </a:xfrm>
            <a:custGeom>
              <a:avLst/>
              <a:gdLst>
                <a:gd name="T0" fmla="*/ 0 w 34"/>
                <a:gd name="T1" fmla="*/ 52 h 52"/>
                <a:gd name="T2" fmla="*/ 0 w 34"/>
                <a:gd name="T3" fmla="*/ 0 h 52"/>
                <a:gd name="T4" fmla="*/ 33 w 34"/>
                <a:gd name="T5" fmla="*/ 0 h 52"/>
                <a:gd name="T6" fmla="*/ 33 w 34"/>
                <a:gd name="T7" fmla="*/ 10 h 52"/>
                <a:gd name="T8" fmla="*/ 11 w 34"/>
                <a:gd name="T9" fmla="*/ 10 h 52"/>
                <a:gd name="T10" fmla="*/ 11 w 34"/>
                <a:gd name="T11" fmla="*/ 21 h 52"/>
                <a:gd name="T12" fmla="*/ 31 w 34"/>
                <a:gd name="T13" fmla="*/ 21 h 52"/>
                <a:gd name="T14" fmla="*/ 31 w 34"/>
                <a:gd name="T15" fmla="*/ 30 h 52"/>
                <a:gd name="T16" fmla="*/ 11 w 34"/>
                <a:gd name="T17" fmla="*/ 30 h 52"/>
                <a:gd name="T18" fmla="*/ 11 w 34"/>
                <a:gd name="T19" fmla="*/ 43 h 52"/>
                <a:gd name="T20" fmla="*/ 34 w 34"/>
                <a:gd name="T21" fmla="*/ 43 h 52"/>
                <a:gd name="T22" fmla="*/ 34 w 34"/>
                <a:gd name="T23" fmla="*/ 52 h 52"/>
                <a:gd name="T24" fmla="*/ 0 w 34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2">
                  <a:moveTo>
                    <a:pt x="0" y="52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33" y="10"/>
                  </a:lnTo>
                  <a:lnTo>
                    <a:pt x="11" y="10"/>
                  </a:lnTo>
                  <a:lnTo>
                    <a:pt x="11" y="21"/>
                  </a:lnTo>
                  <a:lnTo>
                    <a:pt x="31" y="21"/>
                  </a:lnTo>
                  <a:lnTo>
                    <a:pt x="31" y="30"/>
                  </a:lnTo>
                  <a:lnTo>
                    <a:pt x="11" y="30"/>
                  </a:lnTo>
                  <a:lnTo>
                    <a:pt x="11" y="43"/>
                  </a:lnTo>
                  <a:lnTo>
                    <a:pt x="34" y="43"/>
                  </a:lnTo>
                  <a:lnTo>
                    <a:pt x="34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17843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814513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1914525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8 w 31"/>
                <a:gd name="T13" fmla="*/ 22 h 52"/>
                <a:gd name="T14" fmla="*/ 28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8" y="22"/>
                  </a:lnTo>
                  <a:lnTo>
                    <a:pt x="28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1970088" y="379413"/>
              <a:ext cx="69850" cy="85725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2052638" y="381000"/>
              <a:ext cx="61913" cy="82550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2154238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2222500" y="381000"/>
              <a:ext cx="61913" cy="82550"/>
            </a:xfrm>
            <a:custGeom>
              <a:avLst/>
              <a:gdLst>
                <a:gd name="T0" fmla="*/ 0 w 39"/>
                <a:gd name="T1" fmla="*/ 52 h 52"/>
                <a:gd name="T2" fmla="*/ 0 w 39"/>
                <a:gd name="T3" fmla="*/ 0 h 52"/>
                <a:gd name="T4" fmla="*/ 11 w 39"/>
                <a:gd name="T5" fmla="*/ 0 h 52"/>
                <a:gd name="T6" fmla="*/ 11 w 39"/>
                <a:gd name="T7" fmla="*/ 20 h 52"/>
                <a:gd name="T8" fmla="*/ 28 w 39"/>
                <a:gd name="T9" fmla="*/ 20 h 52"/>
                <a:gd name="T10" fmla="*/ 28 w 39"/>
                <a:gd name="T11" fmla="*/ 0 h 52"/>
                <a:gd name="T12" fmla="*/ 39 w 39"/>
                <a:gd name="T13" fmla="*/ 0 h 52"/>
                <a:gd name="T14" fmla="*/ 39 w 39"/>
                <a:gd name="T15" fmla="*/ 52 h 52"/>
                <a:gd name="T16" fmla="*/ 28 w 39"/>
                <a:gd name="T17" fmla="*/ 52 h 52"/>
                <a:gd name="T18" fmla="*/ 28 w 39"/>
                <a:gd name="T19" fmla="*/ 30 h 52"/>
                <a:gd name="T20" fmla="*/ 11 w 39"/>
                <a:gd name="T21" fmla="*/ 30 h 52"/>
                <a:gd name="T22" fmla="*/ 11 w 39"/>
                <a:gd name="T23" fmla="*/ 52 h 52"/>
                <a:gd name="T24" fmla="*/ 0 w 39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20"/>
                  </a:lnTo>
                  <a:lnTo>
                    <a:pt x="28" y="20"/>
                  </a:lnTo>
                  <a:lnTo>
                    <a:pt x="28" y="0"/>
                  </a:lnTo>
                  <a:lnTo>
                    <a:pt x="39" y="0"/>
                  </a:lnTo>
                  <a:lnTo>
                    <a:pt x="39" y="52"/>
                  </a:lnTo>
                  <a:lnTo>
                    <a:pt x="28" y="52"/>
                  </a:lnTo>
                  <a:lnTo>
                    <a:pt x="28" y="30"/>
                  </a:lnTo>
                  <a:lnTo>
                    <a:pt x="11" y="3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6" name="Freeform 21"/>
            <p:cNvSpPr>
              <a:spLocks noEditPoints="1"/>
            </p:cNvSpPr>
            <p:nvPr/>
          </p:nvSpPr>
          <p:spPr bwMode="auto">
            <a:xfrm>
              <a:off x="2293938" y="381000"/>
              <a:ext cx="69850" cy="82550"/>
            </a:xfrm>
            <a:custGeom>
              <a:avLst/>
              <a:gdLst>
                <a:gd name="T0" fmla="*/ 16 w 44"/>
                <a:gd name="T1" fmla="*/ 0 h 52"/>
                <a:gd name="T2" fmla="*/ 27 w 44"/>
                <a:gd name="T3" fmla="*/ 0 h 52"/>
                <a:gd name="T4" fmla="*/ 44 w 44"/>
                <a:gd name="T5" fmla="*/ 52 h 52"/>
                <a:gd name="T6" fmla="*/ 32 w 44"/>
                <a:gd name="T7" fmla="*/ 52 h 52"/>
                <a:gd name="T8" fmla="*/ 29 w 44"/>
                <a:gd name="T9" fmla="*/ 41 h 52"/>
                <a:gd name="T10" fmla="*/ 14 w 44"/>
                <a:gd name="T11" fmla="*/ 41 h 52"/>
                <a:gd name="T12" fmla="*/ 11 w 44"/>
                <a:gd name="T13" fmla="*/ 52 h 52"/>
                <a:gd name="T14" fmla="*/ 0 w 44"/>
                <a:gd name="T15" fmla="*/ 52 h 52"/>
                <a:gd name="T16" fmla="*/ 16 w 44"/>
                <a:gd name="T17" fmla="*/ 0 h 52"/>
                <a:gd name="T18" fmla="*/ 17 w 44"/>
                <a:gd name="T19" fmla="*/ 32 h 52"/>
                <a:gd name="T20" fmla="*/ 27 w 44"/>
                <a:gd name="T21" fmla="*/ 32 h 52"/>
                <a:gd name="T22" fmla="*/ 21 w 44"/>
                <a:gd name="T23" fmla="*/ 14 h 52"/>
                <a:gd name="T24" fmla="*/ 17 w 44"/>
                <a:gd name="T25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52">
                  <a:moveTo>
                    <a:pt x="16" y="0"/>
                  </a:moveTo>
                  <a:lnTo>
                    <a:pt x="27" y="0"/>
                  </a:lnTo>
                  <a:lnTo>
                    <a:pt x="44" y="52"/>
                  </a:lnTo>
                  <a:lnTo>
                    <a:pt x="32" y="52"/>
                  </a:lnTo>
                  <a:lnTo>
                    <a:pt x="29" y="41"/>
                  </a:lnTo>
                  <a:lnTo>
                    <a:pt x="14" y="41"/>
                  </a:lnTo>
                  <a:lnTo>
                    <a:pt x="11" y="52"/>
                  </a:lnTo>
                  <a:lnTo>
                    <a:pt x="0" y="52"/>
                  </a:lnTo>
                  <a:lnTo>
                    <a:pt x="16" y="0"/>
                  </a:lnTo>
                  <a:close/>
                  <a:moveTo>
                    <a:pt x="17" y="32"/>
                  </a:moveTo>
                  <a:lnTo>
                    <a:pt x="27" y="32"/>
                  </a:lnTo>
                  <a:lnTo>
                    <a:pt x="21" y="14"/>
                  </a:lnTo>
                  <a:lnTo>
                    <a:pt x="17" y="3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auto">
            <a:xfrm>
              <a:off x="2371725" y="381000"/>
              <a:ext cx="61913" cy="82550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2446338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2479675" y="381000"/>
              <a:ext cx="60325" cy="82550"/>
            </a:xfrm>
            <a:custGeom>
              <a:avLst/>
              <a:gdLst>
                <a:gd name="T0" fmla="*/ 0 w 38"/>
                <a:gd name="T1" fmla="*/ 52 h 52"/>
                <a:gd name="T2" fmla="*/ 0 w 38"/>
                <a:gd name="T3" fmla="*/ 0 h 52"/>
                <a:gd name="T4" fmla="*/ 11 w 38"/>
                <a:gd name="T5" fmla="*/ 0 h 52"/>
                <a:gd name="T6" fmla="*/ 27 w 38"/>
                <a:gd name="T7" fmla="*/ 34 h 52"/>
                <a:gd name="T8" fmla="*/ 27 w 38"/>
                <a:gd name="T9" fmla="*/ 0 h 52"/>
                <a:gd name="T10" fmla="*/ 38 w 38"/>
                <a:gd name="T11" fmla="*/ 0 h 52"/>
                <a:gd name="T12" fmla="*/ 38 w 38"/>
                <a:gd name="T13" fmla="*/ 52 h 52"/>
                <a:gd name="T14" fmla="*/ 27 w 38"/>
                <a:gd name="T15" fmla="*/ 52 h 52"/>
                <a:gd name="T16" fmla="*/ 10 w 38"/>
                <a:gd name="T17" fmla="*/ 19 h 52"/>
                <a:gd name="T18" fmla="*/ 10 w 38"/>
                <a:gd name="T19" fmla="*/ 52 h 52"/>
                <a:gd name="T20" fmla="*/ 0 w 38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7" y="34"/>
                  </a:lnTo>
                  <a:lnTo>
                    <a:pt x="27" y="0"/>
                  </a:lnTo>
                  <a:lnTo>
                    <a:pt x="38" y="0"/>
                  </a:lnTo>
                  <a:lnTo>
                    <a:pt x="38" y="52"/>
                  </a:lnTo>
                  <a:lnTo>
                    <a:pt x="27" y="52"/>
                  </a:lnTo>
                  <a:lnTo>
                    <a:pt x="10" y="19"/>
                  </a:lnTo>
                  <a:lnTo>
                    <a:pt x="10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2552700" y="379413"/>
              <a:ext cx="66675" cy="85725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2633663" y="446088"/>
              <a:ext cx="19050" cy="17463"/>
            </a:xfrm>
            <a:custGeom>
              <a:avLst/>
              <a:gdLst>
                <a:gd name="T0" fmla="*/ 12 w 12"/>
                <a:gd name="T1" fmla="*/ 0 h 11"/>
                <a:gd name="T2" fmla="*/ 12 w 12"/>
                <a:gd name="T3" fmla="*/ 11 h 11"/>
                <a:gd name="T4" fmla="*/ 0 w 12"/>
                <a:gd name="T5" fmla="*/ 11 h 11"/>
                <a:gd name="T6" fmla="*/ 0 w 12"/>
                <a:gd name="T7" fmla="*/ 0 h 11"/>
                <a:gd name="T8" fmla="*/ 7 w 12"/>
                <a:gd name="T9" fmla="*/ 0 h 11"/>
                <a:gd name="T10" fmla="*/ 12 w 12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1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295" userDrawn="1">
          <p15:clr>
            <a:srgbClr val="F26B43"/>
          </p15:clr>
        </p15:guide>
        <p15:guide id="2" pos="4015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‹#›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990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en-GB" sz="800" b="1" kern="1200" dirty="0">
              <a:solidFill>
                <a:schemeClr val="tx1"/>
              </a:solidFill>
              <a:latin typeface="+mn-lt"/>
              <a:ea typeface="+mn-ea"/>
              <a:cs typeface="Arial" charset="0"/>
              <a:sym typeface="TeleGrotesk Next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2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735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30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308324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noProof="0" dirty="0"/>
              <a:t>next Ultra </a:t>
            </a:r>
            <a:br>
              <a:rPr lang="en-US" noProof="0" dirty="0"/>
            </a:br>
            <a:r>
              <a:rPr lang="en-US" noProof="0" dirty="0"/>
              <a:t>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Sub-heading: </a:t>
            </a:r>
            <a:r>
              <a:rPr lang="en-US" noProof="0" dirty="0" err="1"/>
              <a:t>TeleGrotesk</a:t>
            </a:r>
            <a:r>
              <a:rPr lang="en-US" noProof="0" dirty="0"/>
              <a:t> Next bold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63" name="Gruppieren 62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6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811585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>
      <p:bgPr>
        <a:blipFill dpi="0" rotWithShape="1">
          <a:blip r:embed="rId3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9052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Content/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02576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Living Magenta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30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584000"/>
            <a:ext cx="10874374" cy="1846659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7951720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ving Magenta vertical">
    <p:bg>
      <p:bgPr>
        <a:blipFill dpi="0" rotWithShape="1">
          <a:blip r:embed="rId3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394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r>
              <a:rPr lang="en-US" dirty="0"/>
              <a:t>01</a:t>
            </a:r>
            <a:br>
              <a:rPr lang="en-US" dirty="0"/>
            </a:br>
            <a:r>
              <a:rPr lang="en-US" dirty="0" err="1"/>
              <a:t>TeleGrotesk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next (45) 60 PT</a:t>
            </a:r>
          </a:p>
        </p:txBody>
      </p:sp>
    </p:spTree>
    <p:extLst>
      <p:ext uri="{BB962C8B-B14F-4D97-AF65-F5344CB8AC3E}">
        <p14:creationId xmlns:p14="http://schemas.microsoft.com/office/powerpoint/2010/main" val="1267154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893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6E1EB073-5DD2-1044-9705-CB3FCC1E6E50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noProof="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7292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9F480BD-4A4D-8543-8B66-AA0621F492A5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noProof="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9504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B0C2B3E-0214-D14A-8843-A464B85D4E68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noProof="0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36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530C1DD-02C9-E948-BEF2-EECE34FF610A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3064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A67475B1-3415-F540-97F7-A2FC41C66DCE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406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95501D4B-BB93-0F48-AD76-FB52A24D4BA1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3638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64598ED-A348-504C-86AA-378D45DAE658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31FF818F-5B37-4549-AE79-8D785FF7B2BA}"/>
              </a:ext>
            </a:extLst>
          </p:cNvPr>
          <p:cNvSpPr txBox="1"/>
          <p:nvPr userDrawn="1"/>
        </p:nvSpPr>
        <p:spPr bwMode="gray">
          <a:xfrm>
            <a:off x="3397718" y="1116531"/>
            <a:ext cx="0" cy="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eaLnBrk="1">
              <a:buNone/>
            </a:pPr>
            <a:endParaRPr lang="en-US" sz="1800" dirty="0"/>
          </a:p>
        </p:txBody>
      </p:sp>
      <p:grpSp>
        <p:nvGrpSpPr>
          <p:cNvPr id="63" name="Gruppieren 62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6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788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729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744D2BE1-4C6D-094A-9816-AE6BE1E0F551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861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E917CEC3-0A92-F54F-9E0D-2D5ADF1E7484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noProof="0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949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next ULTRA </a:t>
            </a:r>
            <a:br>
              <a:rPr lang="en-US" sz="4800" dirty="0"/>
            </a:br>
            <a:r>
              <a:rPr lang="en-US" sz="4800" dirty="0"/>
              <a:t>40 (48) 60 </a:t>
            </a:r>
            <a:r>
              <a:rPr lang="en-US" sz="4800" dirty="0" err="1"/>
              <a:t>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69332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b="0" smtClean="0">
                <a:solidFill>
                  <a:schemeClr val="bg1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pPr lvl="0"/>
            <a:r>
              <a:rPr lang="en-US" noProof="0" dirty="0"/>
              <a:t>Sub-heading: </a:t>
            </a:r>
            <a:r>
              <a:rPr lang="en-US" noProof="0" dirty="0" err="1"/>
              <a:t>TeleGrotesk</a:t>
            </a:r>
            <a:r>
              <a:rPr lang="en-US" noProof="0" dirty="0"/>
              <a:t> Next 2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6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 descr="TKOM_39L_Grillen_7475.jpg"/>
          <p:cNvPicPr>
            <a:picLocks noChangeAspect="1"/>
          </p:cNvPicPr>
          <p:nvPr userDrawn="1"/>
        </p:nvPicPr>
        <p:blipFill>
          <a:blip r:embed="rId5"/>
          <a:srcRect b="58195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6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40)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69332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="0" smtClean="0">
                <a:solidFill>
                  <a:schemeClr val="bg1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ext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19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0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1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2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3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4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5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6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7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8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9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0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1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2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3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4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9908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 b="1">
                <a:solidFill>
                  <a:schemeClr val="tx2"/>
                </a:solidFill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2CA6B44-C1DD-F54F-93E6-E90C2B0FB41A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402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en-US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E007042E-6FFB-3445-BB1F-3DC3F9E8216E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5740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en-US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1FC83F7E-2568-374F-B475-41ADC496BC1A}" type="datetime4">
              <a:rPr lang="de-DE" noProof="0" smtClean="0"/>
              <a:t>2. Juni 2022</a:t>
            </a:fld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132928" y="3290120"/>
            <a:ext cx="5239369" cy="1156567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32928" y="4600754"/>
            <a:ext cx="5239369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Add pictur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9A69EF6-EF93-45A3-A9B7-C46A6B4284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72143" y="5260193"/>
            <a:ext cx="2946836" cy="79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119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vertical left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4" name="Gruppieren 33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35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2111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8" name="Gruppieren 37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9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4" name="Gruppieren 33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5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6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1229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transparent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1944688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6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5" name="Gruppieren 34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36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1048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eft transparent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0597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091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 b/w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4756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65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923330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Content/Agenda</a:t>
            </a:r>
          </a:p>
        </p:txBody>
      </p:sp>
    </p:spTree>
    <p:extLst>
      <p:ext uri="{BB962C8B-B14F-4D97-AF65-F5344CB8AC3E}">
        <p14:creationId xmlns:p14="http://schemas.microsoft.com/office/powerpoint/2010/main" val="53415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242299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198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pPr fontAlgn="base">
              <a:spcAft>
                <a:spcPct val="0"/>
              </a:spcAft>
            </a:pPr>
            <a:fld id="{A08358CE-069A-2849-93EE-8A86C8036F88}" type="datetime4">
              <a:rPr lang="de-DE" smtClean="0"/>
              <a:t>2. Juni 2022</a:t>
            </a:fld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10" name="Grafik 9" descr="T_Logo_3c_Slogan_p_INT.emf"/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86" r:id="rId9"/>
    <p:sldLayoutId id="2147483987" r:id="rId10"/>
    <p:sldLayoutId id="2147483988" r:id="rId11"/>
    <p:sldLayoutId id="2147483989" r:id="rId12"/>
    <p:sldLayoutId id="2147483718" r:id="rId13"/>
    <p:sldLayoutId id="2147483722" r:id="rId14"/>
    <p:sldLayoutId id="2147483723" r:id="rId15"/>
    <p:sldLayoutId id="2147483969" r:id="rId16"/>
    <p:sldLayoutId id="2147483970" r:id="rId17"/>
    <p:sldLayoutId id="2147483972" r:id="rId18"/>
    <p:sldLayoutId id="2147483971" r:id="rId19"/>
    <p:sldLayoutId id="2147483973" r:id="rId20"/>
    <p:sldLayoutId id="2147483716" r:id="rId21"/>
    <p:sldLayoutId id="2147483898" r:id="rId22"/>
    <p:sldLayoutId id="2147483711" r:id="rId23"/>
    <p:sldLayoutId id="2147483930" r:id="rId24"/>
    <p:sldLayoutId id="2147483959" r:id="rId25"/>
    <p:sldLayoutId id="2147483960" r:id="rId26"/>
    <p:sldLayoutId id="2147483997" r:id="rId27"/>
  </p:sldLayoutIdLst>
  <p:hf hdr="0" ftr="0" dt="0"/>
  <p:txStyles>
    <p:titleStyle>
      <a:lvl1pPr marL="0" indent="0" algn="l" defTabSz="457322" rtl="0" eaLnBrk="1" fontAlgn="base" hangingPunct="1">
        <a:lnSpc>
          <a:spcPct val="100000"/>
        </a:lnSpc>
        <a:spcBef>
          <a:spcPts val="0"/>
        </a:spcBef>
        <a:spcAft>
          <a:spcPct val="0"/>
        </a:spcAft>
        <a:defRPr lang="de-DE" sz="3200" kern="1200" cap="all" baseline="0" dirty="0">
          <a:solidFill>
            <a:schemeClr val="tx2"/>
          </a:solidFill>
          <a:latin typeface="TeleGrotesk Next Ultra" pitchFamily="2" charset="0"/>
          <a:ea typeface="+mj-ea"/>
          <a:cs typeface="TeleGrotesk Next Ultra" pitchFamily="2" charset="0"/>
          <a:sym typeface="TeleGrotesk Next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0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b="1" kern="1200">
          <a:solidFill>
            <a:schemeClr val="tx1"/>
          </a:solidFill>
          <a:latin typeface="+mn-lt"/>
          <a:ea typeface="+mn-ea"/>
          <a:cs typeface="+mn-cs"/>
          <a:sym typeface="Blackadder ITC" panose="04020505051007020D02" pitchFamily="82" charset="0"/>
        </a:defRPr>
      </a:lvl1pPr>
      <a:lvl2pPr marL="1588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D43D1F3-7761-438B-9726-D41A254B93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8306" y="3764544"/>
            <a:ext cx="7184291" cy="1156567"/>
          </a:xfrm>
        </p:spPr>
        <p:txBody>
          <a:bodyPr/>
          <a:lstStyle/>
          <a:p>
            <a:r>
              <a:rPr lang="en-US" sz="3402" dirty="0"/>
              <a:t>CAMARA </a:t>
            </a:r>
            <a:r>
              <a:rPr lang="en-US" sz="3402" dirty="0" err="1"/>
              <a:t>QoD</a:t>
            </a:r>
            <a:r>
              <a:rPr lang="en-US" sz="3402" dirty="0"/>
              <a:t> – AVP Use case</a:t>
            </a:r>
            <a:endParaRPr lang="en-US" sz="20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AA546B70-72D1-4432-B781-9237E2F0FD9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8" b="8"/>
          <a:stretch/>
        </p:blipFill>
        <p:spPr>
          <a:xfrm>
            <a:off x="0" y="-1"/>
            <a:ext cx="11522075" cy="6480175"/>
          </a:xfr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7AE3120-7170-4D7E-95BF-362800CBAE6C}"/>
              </a:ext>
            </a:extLst>
          </p:cNvPr>
          <p:cNvSpPr/>
          <p:nvPr/>
        </p:nvSpPr>
        <p:spPr>
          <a:xfrm>
            <a:off x="-240006" y="-240006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33" tIns="68033" rIns="68033" bIns="68033" rtlCol="0" anchor="ctr"/>
          <a:lstStyle/>
          <a:p>
            <a:pPr algn="ctr"/>
            <a:r>
              <a:rPr lang="en-US" sz="100"/>
              <a:t>232633200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3FE418-AC90-4AA3-9D33-4F924D43FF79}"/>
              </a:ext>
            </a:extLst>
          </p:cNvPr>
          <p:cNvSpPr/>
          <p:nvPr/>
        </p:nvSpPr>
        <p:spPr>
          <a:xfrm>
            <a:off x="-240006" y="-240006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33" tIns="68033" rIns="68033" bIns="68033" rtlCol="0" anchor="ctr"/>
          <a:lstStyle/>
          <a:p>
            <a:pPr algn="ctr"/>
            <a:r>
              <a:rPr lang="en-US" sz="100"/>
              <a:t>233788448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DCC2D4-B084-4126-8648-2664D6B56F91}"/>
              </a:ext>
            </a:extLst>
          </p:cNvPr>
          <p:cNvSpPr/>
          <p:nvPr/>
        </p:nvSpPr>
        <p:spPr>
          <a:xfrm>
            <a:off x="-240006" y="-240006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33" tIns="68033" rIns="68033" bIns="68033" rtlCol="0" anchor="ctr"/>
          <a:lstStyle/>
          <a:p>
            <a:pPr algn="ctr"/>
            <a:r>
              <a:rPr lang="en-US" sz="100"/>
              <a:t>57469760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528340-F0A4-4B88-9B88-80E9647EAC9B}"/>
              </a:ext>
            </a:extLst>
          </p:cNvPr>
          <p:cNvSpPr/>
          <p:nvPr/>
        </p:nvSpPr>
        <p:spPr>
          <a:xfrm>
            <a:off x="-240006" y="-240006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33" tIns="68033" rIns="68033" bIns="68033" rtlCol="0" anchor="ctr"/>
          <a:lstStyle/>
          <a:p>
            <a:pPr algn="ctr"/>
            <a:r>
              <a:rPr lang="en-US" sz="100"/>
              <a:t>29067163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79CC0A-3C14-412A-B7DF-0219F30BFB29}"/>
              </a:ext>
            </a:extLst>
          </p:cNvPr>
          <p:cNvSpPr/>
          <p:nvPr/>
        </p:nvSpPr>
        <p:spPr>
          <a:xfrm>
            <a:off x="-240006" y="-240006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33" tIns="68033" rIns="68033" bIns="68033" rtlCol="0" anchor="ctr"/>
          <a:lstStyle/>
          <a:p>
            <a:pPr algn="ctr"/>
            <a:r>
              <a:rPr lang="en-US" sz="100"/>
              <a:t>23024910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03C330-A29D-4046-9FF4-CB4402B4079A}"/>
              </a:ext>
            </a:extLst>
          </p:cNvPr>
          <p:cNvSpPr/>
          <p:nvPr/>
        </p:nvSpPr>
        <p:spPr>
          <a:xfrm>
            <a:off x="-240006" y="-240006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033" tIns="68033" rIns="68033" bIns="680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"/>
              <a:t>230249104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EB913FB-03F8-4371-8152-854B3A9A93B6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00">
                <a:cs typeface="Arial" charset="0"/>
              </a:rPr>
              <a:t>287185920</a:t>
            </a:r>
            <a:endParaRPr lang="en-US" sz="1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79898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DAE8FF2-6276-D347-9610-120CDE7C5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Components of 5G network with exposure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6CF58A4B-DFBD-0A4A-BC76-957A876D9F6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9811467" y="1430039"/>
            <a:ext cx="6868753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PL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397BA9D-56DE-5640-8AA4-2C84E69B65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3150" y="2519450"/>
            <a:ext cx="7389545" cy="45719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PL"/>
          </a:p>
        </p:txBody>
      </p:sp>
      <p:sp>
        <p:nvSpPr>
          <p:cNvPr id="11" name="Rechteck: abgerundete Ecken 51">
            <a:extLst>
              <a:ext uri="{FF2B5EF4-FFF2-40B4-BE49-F238E27FC236}">
                <a16:creationId xmlns:a16="http://schemas.microsoft.com/office/drawing/2014/main" id="{00809223-856F-5E4F-78FC-3A48AF8D78C5}"/>
              </a:ext>
            </a:extLst>
          </p:cNvPr>
          <p:cNvSpPr/>
          <p:nvPr/>
        </p:nvSpPr>
        <p:spPr>
          <a:xfrm>
            <a:off x="4215964" y="4647697"/>
            <a:ext cx="2904514" cy="1546296"/>
          </a:xfrm>
          <a:prstGeom prst="roundRect">
            <a:avLst>
              <a:gd name="adj" fmla="val 5793"/>
            </a:avLst>
          </a:prstGeom>
          <a:solidFill>
            <a:srgbClr val="FAE2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b"/>
          <a:lstStyle/>
          <a:p>
            <a:r>
              <a:rPr lang="de-DE" sz="2299" dirty="0">
                <a:solidFill>
                  <a:srgbClr val="0478BE"/>
                </a:solidFill>
              </a:rPr>
              <a:t>4G/5G Core</a:t>
            </a:r>
          </a:p>
        </p:txBody>
      </p:sp>
      <p:sp>
        <p:nvSpPr>
          <p:cNvPr id="13" name="Rechteck: abgerundete Ecken 53">
            <a:extLst>
              <a:ext uri="{FF2B5EF4-FFF2-40B4-BE49-F238E27FC236}">
                <a16:creationId xmlns:a16="http://schemas.microsoft.com/office/drawing/2014/main" id="{DB3DC451-6669-90E7-F4CD-0F90E45140BE}"/>
              </a:ext>
            </a:extLst>
          </p:cNvPr>
          <p:cNvSpPr/>
          <p:nvPr/>
        </p:nvSpPr>
        <p:spPr>
          <a:xfrm>
            <a:off x="1121781" y="3772276"/>
            <a:ext cx="1590407" cy="2367572"/>
          </a:xfrm>
          <a:prstGeom prst="roundRect">
            <a:avLst>
              <a:gd name="adj" fmla="val 6756"/>
            </a:avLst>
          </a:prstGeom>
          <a:solidFill>
            <a:srgbClr val="FAE2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b"/>
          <a:lstStyle/>
          <a:p>
            <a:pPr algn="ctr"/>
            <a:endParaRPr lang="de-DE" sz="2299"/>
          </a:p>
          <a:p>
            <a:r>
              <a:rPr lang="de-DE" sz="2299">
                <a:solidFill>
                  <a:srgbClr val="0478BE"/>
                </a:solidFill>
              </a:rPr>
              <a:t>RAN</a:t>
            </a:r>
          </a:p>
        </p:txBody>
      </p:sp>
      <p:sp>
        <p:nvSpPr>
          <p:cNvPr id="15" name="Freeform 92">
            <a:extLst>
              <a:ext uri="{FF2B5EF4-FFF2-40B4-BE49-F238E27FC236}">
                <a16:creationId xmlns:a16="http://schemas.microsoft.com/office/drawing/2014/main" id="{04ABA20A-2857-7D5F-4275-5B1E6ADD382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15011" y="5733909"/>
            <a:ext cx="379921" cy="379921"/>
          </a:xfrm>
          <a:custGeom>
            <a:avLst/>
            <a:gdLst>
              <a:gd name="T0" fmla="*/ 693 w 693"/>
              <a:gd name="T1" fmla="*/ 27 h 693"/>
              <a:gd name="T2" fmla="*/ 0 w 693"/>
              <a:gd name="T3" fmla="*/ 27 h 693"/>
              <a:gd name="T4" fmla="*/ 40 w 693"/>
              <a:gd name="T5" fmla="*/ 213 h 693"/>
              <a:gd name="T6" fmla="*/ 0 w 693"/>
              <a:gd name="T7" fmla="*/ 266 h 693"/>
              <a:gd name="T8" fmla="*/ 40 w 693"/>
              <a:gd name="T9" fmla="*/ 453 h 693"/>
              <a:gd name="T10" fmla="*/ 0 w 693"/>
              <a:gd name="T11" fmla="*/ 506 h 693"/>
              <a:gd name="T12" fmla="*/ 667 w 693"/>
              <a:gd name="T13" fmla="*/ 693 h 693"/>
              <a:gd name="T14" fmla="*/ 667 w 693"/>
              <a:gd name="T15" fmla="*/ 479 h 693"/>
              <a:gd name="T16" fmla="*/ 667 w 693"/>
              <a:gd name="T17" fmla="*/ 453 h 693"/>
              <a:gd name="T18" fmla="*/ 667 w 693"/>
              <a:gd name="T19" fmla="*/ 239 h 693"/>
              <a:gd name="T20" fmla="*/ 667 w 693"/>
              <a:gd name="T21" fmla="*/ 213 h 693"/>
              <a:gd name="T22" fmla="*/ 40 w 693"/>
              <a:gd name="T23" fmla="*/ 519 h 693"/>
              <a:gd name="T24" fmla="*/ 653 w 693"/>
              <a:gd name="T25" fmla="*/ 413 h 693"/>
              <a:gd name="T26" fmla="*/ 653 w 693"/>
              <a:gd name="T27" fmla="*/ 279 h 693"/>
              <a:gd name="T28" fmla="*/ 40 w 693"/>
              <a:gd name="T29" fmla="*/ 40 h 693"/>
              <a:gd name="T30" fmla="*/ 40 w 693"/>
              <a:gd name="T31" fmla="*/ 173 h 693"/>
              <a:gd name="T32" fmla="*/ 180 w 693"/>
              <a:gd name="T33" fmla="*/ 93 h 693"/>
              <a:gd name="T34" fmla="*/ 180 w 693"/>
              <a:gd name="T35" fmla="*/ 119 h 693"/>
              <a:gd name="T36" fmla="*/ 200 w 693"/>
              <a:gd name="T37" fmla="*/ 139 h 693"/>
              <a:gd name="T38" fmla="*/ 80 w 693"/>
              <a:gd name="T39" fmla="*/ 73 h 693"/>
              <a:gd name="T40" fmla="*/ 100 w 693"/>
              <a:gd name="T41" fmla="*/ 53 h 693"/>
              <a:gd name="T42" fmla="*/ 100 w 693"/>
              <a:gd name="T43" fmla="*/ 159 h 693"/>
              <a:gd name="T44" fmla="*/ 260 w 693"/>
              <a:gd name="T45" fmla="*/ 119 h 693"/>
              <a:gd name="T46" fmla="*/ 280 w 693"/>
              <a:gd name="T47" fmla="*/ 139 h 693"/>
              <a:gd name="T48" fmla="*/ 320 w 693"/>
              <a:gd name="T49" fmla="*/ 73 h 693"/>
              <a:gd name="T50" fmla="*/ 340 w 693"/>
              <a:gd name="T51" fmla="*/ 53 h 693"/>
              <a:gd name="T52" fmla="*/ 340 w 693"/>
              <a:gd name="T53" fmla="*/ 159 h 693"/>
              <a:gd name="T54" fmla="*/ 260 w 693"/>
              <a:gd name="T55" fmla="*/ 53 h 693"/>
              <a:gd name="T56" fmla="*/ 280 w 693"/>
              <a:gd name="T57" fmla="*/ 73 h 693"/>
              <a:gd name="T58" fmla="*/ 280 w 693"/>
              <a:gd name="T59" fmla="*/ 379 h 693"/>
              <a:gd name="T60" fmla="*/ 260 w 693"/>
              <a:gd name="T61" fmla="*/ 399 h 693"/>
              <a:gd name="T62" fmla="*/ 340 w 693"/>
              <a:gd name="T63" fmla="*/ 359 h 693"/>
              <a:gd name="T64" fmla="*/ 260 w 693"/>
              <a:gd name="T65" fmla="*/ 333 h 693"/>
              <a:gd name="T66" fmla="*/ 240 w 693"/>
              <a:gd name="T67" fmla="*/ 313 h 693"/>
              <a:gd name="T68" fmla="*/ 360 w 693"/>
              <a:gd name="T69" fmla="*/ 313 h 693"/>
              <a:gd name="T70" fmla="*/ 340 w 693"/>
              <a:gd name="T71" fmla="*/ 333 h 693"/>
              <a:gd name="T72" fmla="*/ 100 w 693"/>
              <a:gd name="T73" fmla="*/ 359 h 693"/>
              <a:gd name="T74" fmla="*/ 180 w 693"/>
              <a:gd name="T75" fmla="*/ 333 h 693"/>
              <a:gd name="T76" fmla="*/ 160 w 693"/>
              <a:gd name="T77" fmla="*/ 313 h 693"/>
              <a:gd name="T78" fmla="*/ 120 w 693"/>
              <a:gd name="T79" fmla="*/ 313 h 693"/>
              <a:gd name="T80" fmla="*/ 100 w 693"/>
              <a:gd name="T81" fmla="*/ 333 h 693"/>
              <a:gd name="T82" fmla="*/ 180 w 693"/>
              <a:gd name="T83" fmla="*/ 359 h 693"/>
              <a:gd name="T84" fmla="*/ 260 w 693"/>
              <a:gd name="T85" fmla="*/ 639 h 693"/>
              <a:gd name="T86" fmla="*/ 240 w 693"/>
              <a:gd name="T87" fmla="*/ 619 h 693"/>
              <a:gd name="T88" fmla="*/ 280 w 693"/>
              <a:gd name="T89" fmla="*/ 553 h 693"/>
              <a:gd name="T90" fmla="*/ 260 w 693"/>
              <a:gd name="T91" fmla="*/ 573 h 693"/>
              <a:gd name="T92" fmla="*/ 180 w 693"/>
              <a:gd name="T93" fmla="*/ 533 h 693"/>
              <a:gd name="T94" fmla="*/ 340 w 693"/>
              <a:gd name="T95" fmla="*/ 639 h 693"/>
              <a:gd name="T96" fmla="*/ 320 w 693"/>
              <a:gd name="T97" fmla="*/ 619 h 693"/>
              <a:gd name="T98" fmla="*/ 360 w 693"/>
              <a:gd name="T99" fmla="*/ 553 h 693"/>
              <a:gd name="T100" fmla="*/ 340 w 693"/>
              <a:gd name="T101" fmla="*/ 573 h 693"/>
              <a:gd name="T102" fmla="*/ 100 w 693"/>
              <a:gd name="T103" fmla="*/ 599 h 693"/>
              <a:gd name="T104" fmla="*/ 180 w 693"/>
              <a:gd name="T105" fmla="*/ 639 h 693"/>
              <a:gd name="T106" fmla="*/ 160 w 693"/>
              <a:gd name="T107" fmla="*/ 619 h 693"/>
              <a:gd name="T108" fmla="*/ 120 w 693"/>
              <a:gd name="T109" fmla="*/ 553 h 693"/>
              <a:gd name="T110" fmla="*/ 100 w 693"/>
              <a:gd name="T111" fmla="*/ 573 h 693"/>
              <a:gd name="T112" fmla="*/ 587 w 693"/>
              <a:gd name="T113" fmla="*/ 306 h 693"/>
              <a:gd name="T114" fmla="*/ 587 w 693"/>
              <a:gd name="T115" fmla="*/ 626 h 693"/>
              <a:gd name="T116" fmla="*/ 547 w 693"/>
              <a:gd name="T117" fmla="*/ 586 h 693"/>
              <a:gd name="T118" fmla="*/ 547 w 693"/>
              <a:gd name="T119" fmla="*/ 106 h 693"/>
              <a:gd name="T120" fmla="*/ 587 w 693"/>
              <a:gd name="T121" fmla="*/ 66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93" h="693">
                <a:moveTo>
                  <a:pt x="667" y="213"/>
                </a:moveTo>
                <a:cubicBezTo>
                  <a:pt x="681" y="213"/>
                  <a:pt x="693" y="201"/>
                  <a:pt x="693" y="186"/>
                </a:cubicBezTo>
                <a:cubicBezTo>
                  <a:pt x="693" y="27"/>
                  <a:pt x="693" y="27"/>
                  <a:pt x="693" y="27"/>
                </a:cubicBezTo>
                <a:cubicBezTo>
                  <a:pt x="693" y="12"/>
                  <a:pt x="681" y="0"/>
                  <a:pt x="667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186"/>
                  <a:pt x="0" y="186"/>
                  <a:pt x="0" y="186"/>
                </a:cubicBezTo>
                <a:cubicBezTo>
                  <a:pt x="0" y="201"/>
                  <a:pt x="12" y="213"/>
                  <a:pt x="27" y="213"/>
                </a:cubicBezTo>
                <a:cubicBezTo>
                  <a:pt x="40" y="213"/>
                  <a:pt x="40" y="213"/>
                  <a:pt x="40" y="213"/>
                </a:cubicBezTo>
                <a:cubicBezTo>
                  <a:pt x="40" y="239"/>
                  <a:pt x="40" y="239"/>
                  <a:pt x="40" y="239"/>
                </a:cubicBezTo>
                <a:cubicBezTo>
                  <a:pt x="27" y="239"/>
                  <a:pt x="27" y="239"/>
                  <a:pt x="27" y="239"/>
                </a:cubicBezTo>
                <a:cubicBezTo>
                  <a:pt x="12" y="239"/>
                  <a:pt x="0" y="251"/>
                  <a:pt x="0" y="266"/>
                </a:cubicBezTo>
                <a:cubicBezTo>
                  <a:pt x="0" y="426"/>
                  <a:pt x="0" y="426"/>
                  <a:pt x="0" y="426"/>
                </a:cubicBezTo>
                <a:cubicBezTo>
                  <a:pt x="0" y="441"/>
                  <a:pt x="12" y="453"/>
                  <a:pt x="27" y="453"/>
                </a:cubicBezTo>
                <a:cubicBezTo>
                  <a:pt x="40" y="453"/>
                  <a:pt x="40" y="453"/>
                  <a:pt x="40" y="453"/>
                </a:cubicBezTo>
                <a:cubicBezTo>
                  <a:pt x="40" y="479"/>
                  <a:pt x="40" y="479"/>
                  <a:pt x="40" y="479"/>
                </a:cubicBezTo>
                <a:cubicBezTo>
                  <a:pt x="27" y="479"/>
                  <a:pt x="27" y="479"/>
                  <a:pt x="27" y="479"/>
                </a:cubicBezTo>
                <a:cubicBezTo>
                  <a:pt x="12" y="479"/>
                  <a:pt x="0" y="491"/>
                  <a:pt x="0" y="506"/>
                </a:cubicBezTo>
                <a:cubicBezTo>
                  <a:pt x="0" y="666"/>
                  <a:pt x="0" y="666"/>
                  <a:pt x="0" y="666"/>
                </a:cubicBezTo>
                <a:cubicBezTo>
                  <a:pt x="0" y="681"/>
                  <a:pt x="12" y="693"/>
                  <a:pt x="27" y="693"/>
                </a:cubicBezTo>
                <a:cubicBezTo>
                  <a:pt x="667" y="693"/>
                  <a:pt x="667" y="693"/>
                  <a:pt x="667" y="693"/>
                </a:cubicBezTo>
                <a:cubicBezTo>
                  <a:pt x="681" y="693"/>
                  <a:pt x="693" y="681"/>
                  <a:pt x="693" y="666"/>
                </a:cubicBezTo>
                <a:cubicBezTo>
                  <a:pt x="693" y="506"/>
                  <a:pt x="693" y="506"/>
                  <a:pt x="693" y="506"/>
                </a:cubicBezTo>
                <a:cubicBezTo>
                  <a:pt x="693" y="491"/>
                  <a:pt x="681" y="479"/>
                  <a:pt x="667" y="479"/>
                </a:cubicBezTo>
                <a:cubicBezTo>
                  <a:pt x="653" y="479"/>
                  <a:pt x="653" y="479"/>
                  <a:pt x="653" y="479"/>
                </a:cubicBezTo>
                <a:cubicBezTo>
                  <a:pt x="653" y="453"/>
                  <a:pt x="653" y="453"/>
                  <a:pt x="653" y="453"/>
                </a:cubicBezTo>
                <a:cubicBezTo>
                  <a:pt x="667" y="453"/>
                  <a:pt x="667" y="453"/>
                  <a:pt x="667" y="453"/>
                </a:cubicBezTo>
                <a:cubicBezTo>
                  <a:pt x="681" y="453"/>
                  <a:pt x="693" y="441"/>
                  <a:pt x="693" y="426"/>
                </a:cubicBezTo>
                <a:cubicBezTo>
                  <a:pt x="693" y="266"/>
                  <a:pt x="693" y="266"/>
                  <a:pt x="693" y="266"/>
                </a:cubicBezTo>
                <a:cubicBezTo>
                  <a:pt x="693" y="251"/>
                  <a:pt x="681" y="239"/>
                  <a:pt x="667" y="239"/>
                </a:cubicBezTo>
                <a:cubicBezTo>
                  <a:pt x="653" y="239"/>
                  <a:pt x="653" y="239"/>
                  <a:pt x="653" y="239"/>
                </a:cubicBezTo>
                <a:cubicBezTo>
                  <a:pt x="653" y="213"/>
                  <a:pt x="653" y="213"/>
                  <a:pt x="653" y="213"/>
                </a:cubicBezTo>
                <a:lnTo>
                  <a:pt x="667" y="213"/>
                </a:lnTo>
                <a:close/>
                <a:moveTo>
                  <a:pt x="653" y="653"/>
                </a:moveTo>
                <a:cubicBezTo>
                  <a:pt x="40" y="653"/>
                  <a:pt x="40" y="653"/>
                  <a:pt x="40" y="653"/>
                </a:cubicBezTo>
                <a:cubicBezTo>
                  <a:pt x="40" y="519"/>
                  <a:pt x="40" y="519"/>
                  <a:pt x="40" y="519"/>
                </a:cubicBezTo>
                <a:cubicBezTo>
                  <a:pt x="653" y="519"/>
                  <a:pt x="653" y="519"/>
                  <a:pt x="653" y="519"/>
                </a:cubicBezTo>
                <a:lnTo>
                  <a:pt x="653" y="653"/>
                </a:lnTo>
                <a:close/>
                <a:moveTo>
                  <a:pt x="653" y="413"/>
                </a:moveTo>
                <a:cubicBezTo>
                  <a:pt x="40" y="413"/>
                  <a:pt x="40" y="413"/>
                  <a:pt x="40" y="413"/>
                </a:cubicBezTo>
                <a:cubicBezTo>
                  <a:pt x="40" y="279"/>
                  <a:pt x="40" y="279"/>
                  <a:pt x="40" y="279"/>
                </a:cubicBezTo>
                <a:cubicBezTo>
                  <a:pt x="653" y="279"/>
                  <a:pt x="653" y="279"/>
                  <a:pt x="653" y="279"/>
                </a:cubicBezTo>
                <a:lnTo>
                  <a:pt x="653" y="413"/>
                </a:lnTo>
                <a:close/>
                <a:moveTo>
                  <a:pt x="40" y="173"/>
                </a:moveTo>
                <a:cubicBezTo>
                  <a:pt x="40" y="40"/>
                  <a:pt x="40" y="40"/>
                  <a:pt x="40" y="40"/>
                </a:cubicBezTo>
                <a:cubicBezTo>
                  <a:pt x="653" y="40"/>
                  <a:pt x="653" y="40"/>
                  <a:pt x="653" y="40"/>
                </a:cubicBezTo>
                <a:cubicBezTo>
                  <a:pt x="653" y="173"/>
                  <a:pt x="653" y="173"/>
                  <a:pt x="653" y="173"/>
                </a:cubicBezTo>
                <a:lnTo>
                  <a:pt x="40" y="173"/>
                </a:lnTo>
                <a:close/>
                <a:moveTo>
                  <a:pt x="180" y="53"/>
                </a:moveTo>
                <a:cubicBezTo>
                  <a:pt x="169" y="53"/>
                  <a:pt x="160" y="62"/>
                  <a:pt x="160" y="73"/>
                </a:cubicBezTo>
                <a:cubicBezTo>
                  <a:pt x="160" y="84"/>
                  <a:pt x="169" y="93"/>
                  <a:pt x="180" y="93"/>
                </a:cubicBezTo>
                <a:cubicBezTo>
                  <a:pt x="191" y="93"/>
                  <a:pt x="200" y="84"/>
                  <a:pt x="200" y="73"/>
                </a:cubicBezTo>
                <a:cubicBezTo>
                  <a:pt x="200" y="62"/>
                  <a:pt x="191" y="53"/>
                  <a:pt x="180" y="53"/>
                </a:cubicBezTo>
                <a:close/>
                <a:moveTo>
                  <a:pt x="180" y="119"/>
                </a:moveTo>
                <a:cubicBezTo>
                  <a:pt x="169" y="119"/>
                  <a:pt x="160" y="128"/>
                  <a:pt x="160" y="139"/>
                </a:cubicBezTo>
                <a:cubicBezTo>
                  <a:pt x="160" y="150"/>
                  <a:pt x="169" y="159"/>
                  <a:pt x="180" y="159"/>
                </a:cubicBezTo>
                <a:cubicBezTo>
                  <a:pt x="191" y="159"/>
                  <a:pt x="200" y="150"/>
                  <a:pt x="200" y="139"/>
                </a:cubicBezTo>
                <a:cubicBezTo>
                  <a:pt x="200" y="128"/>
                  <a:pt x="191" y="119"/>
                  <a:pt x="180" y="119"/>
                </a:cubicBezTo>
                <a:close/>
                <a:moveTo>
                  <a:pt x="100" y="53"/>
                </a:moveTo>
                <a:cubicBezTo>
                  <a:pt x="89" y="53"/>
                  <a:pt x="80" y="62"/>
                  <a:pt x="80" y="73"/>
                </a:cubicBezTo>
                <a:cubicBezTo>
                  <a:pt x="80" y="84"/>
                  <a:pt x="89" y="93"/>
                  <a:pt x="100" y="93"/>
                </a:cubicBezTo>
                <a:cubicBezTo>
                  <a:pt x="111" y="93"/>
                  <a:pt x="120" y="84"/>
                  <a:pt x="120" y="73"/>
                </a:cubicBezTo>
                <a:cubicBezTo>
                  <a:pt x="120" y="62"/>
                  <a:pt x="111" y="53"/>
                  <a:pt x="100" y="53"/>
                </a:cubicBezTo>
                <a:close/>
                <a:moveTo>
                  <a:pt x="100" y="119"/>
                </a:moveTo>
                <a:cubicBezTo>
                  <a:pt x="89" y="119"/>
                  <a:pt x="80" y="128"/>
                  <a:pt x="80" y="139"/>
                </a:cubicBezTo>
                <a:cubicBezTo>
                  <a:pt x="80" y="150"/>
                  <a:pt x="89" y="159"/>
                  <a:pt x="100" y="159"/>
                </a:cubicBezTo>
                <a:cubicBezTo>
                  <a:pt x="111" y="159"/>
                  <a:pt x="120" y="150"/>
                  <a:pt x="120" y="139"/>
                </a:cubicBezTo>
                <a:cubicBezTo>
                  <a:pt x="120" y="128"/>
                  <a:pt x="111" y="119"/>
                  <a:pt x="100" y="119"/>
                </a:cubicBezTo>
                <a:close/>
                <a:moveTo>
                  <a:pt x="260" y="119"/>
                </a:moveTo>
                <a:cubicBezTo>
                  <a:pt x="249" y="119"/>
                  <a:pt x="240" y="128"/>
                  <a:pt x="240" y="139"/>
                </a:cubicBezTo>
                <a:cubicBezTo>
                  <a:pt x="240" y="150"/>
                  <a:pt x="249" y="159"/>
                  <a:pt x="260" y="159"/>
                </a:cubicBezTo>
                <a:cubicBezTo>
                  <a:pt x="271" y="159"/>
                  <a:pt x="280" y="150"/>
                  <a:pt x="280" y="139"/>
                </a:cubicBezTo>
                <a:cubicBezTo>
                  <a:pt x="280" y="128"/>
                  <a:pt x="271" y="119"/>
                  <a:pt x="260" y="119"/>
                </a:cubicBezTo>
                <a:close/>
                <a:moveTo>
                  <a:pt x="340" y="53"/>
                </a:moveTo>
                <a:cubicBezTo>
                  <a:pt x="329" y="53"/>
                  <a:pt x="320" y="62"/>
                  <a:pt x="320" y="73"/>
                </a:cubicBezTo>
                <a:cubicBezTo>
                  <a:pt x="320" y="84"/>
                  <a:pt x="329" y="93"/>
                  <a:pt x="340" y="93"/>
                </a:cubicBezTo>
                <a:cubicBezTo>
                  <a:pt x="351" y="93"/>
                  <a:pt x="360" y="84"/>
                  <a:pt x="360" y="73"/>
                </a:cubicBezTo>
                <a:cubicBezTo>
                  <a:pt x="360" y="62"/>
                  <a:pt x="351" y="53"/>
                  <a:pt x="340" y="53"/>
                </a:cubicBezTo>
                <a:close/>
                <a:moveTo>
                  <a:pt x="340" y="119"/>
                </a:moveTo>
                <a:cubicBezTo>
                  <a:pt x="329" y="119"/>
                  <a:pt x="320" y="128"/>
                  <a:pt x="320" y="139"/>
                </a:cubicBezTo>
                <a:cubicBezTo>
                  <a:pt x="320" y="150"/>
                  <a:pt x="329" y="159"/>
                  <a:pt x="340" y="159"/>
                </a:cubicBezTo>
                <a:cubicBezTo>
                  <a:pt x="351" y="159"/>
                  <a:pt x="360" y="150"/>
                  <a:pt x="360" y="139"/>
                </a:cubicBezTo>
                <a:cubicBezTo>
                  <a:pt x="360" y="128"/>
                  <a:pt x="351" y="119"/>
                  <a:pt x="340" y="119"/>
                </a:cubicBezTo>
                <a:close/>
                <a:moveTo>
                  <a:pt x="260" y="53"/>
                </a:moveTo>
                <a:cubicBezTo>
                  <a:pt x="249" y="53"/>
                  <a:pt x="240" y="62"/>
                  <a:pt x="240" y="73"/>
                </a:cubicBezTo>
                <a:cubicBezTo>
                  <a:pt x="240" y="84"/>
                  <a:pt x="249" y="93"/>
                  <a:pt x="260" y="93"/>
                </a:cubicBezTo>
                <a:cubicBezTo>
                  <a:pt x="271" y="93"/>
                  <a:pt x="280" y="84"/>
                  <a:pt x="280" y="73"/>
                </a:cubicBezTo>
                <a:cubicBezTo>
                  <a:pt x="280" y="62"/>
                  <a:pt x="271" y="53"/>
                  <a:pt x="260" y="53"/>
                </a:cubicBezTo>
                <a:close/>
                <a:moveTo>
                  <a:pt x="260" y="399"/>
                </a:moveTo>
                <a:cubicBezTo>
                  <a:pt x="271" y="399"/>
                  <a:pt x="280" y="390"/>
                  <a:pt x="280" y="379"/>
                </a:cubicBezTo>
                <a:cubicBezTo>
                  <a:pt x="280" y="368"/>
                  <a:pt x="271" y="359"/>
                  <a:pt x="260" y="359"/>
                </a:cubicBezTo>
                <a:cubicBezTo>
                  <a:pt x="249" y="359"/>
                  <a:pt x="240" y="368"/>
                  <a:pt x="240" y="379"/>
                </a:cubicBezTo>
                <a:cubicBezTo>
                  <a:pt x="240" y="390"/>
                  <a:pt x="249" y="399"/>
                  <a:pt x="260" y="399"/>
                </a:cubicBezTo>
                <a:close/>
                <a:moveTo>
                  <a:pt x="340" y="399"/>
                </a:moveTo>
                <a:cubicBezTo>
                  <a:pt x="351" y="399"/>
                  <a:pt x="360" y="390"/>
                  <a:pt x="360" y="379"/>
                </a:cubicBezTo>
                <a:cubicBezTo>
                  <a:pt x="360" y="368"/>
                  <a:pt x="351" y="359"/>
                  <a:pt x="340" y="359"/>
                </a:cubicBezTo>
                <a:cubicBezTo>
                  <a:pt x="329" y="359"/>
                  <a:pt x="320" y="368"/>
                  <a:pt x="320" y="379"/>
                </a:cubicBezTo>
                <a:cubicBezTo>
                  <a:pt x="320" y="390"/>
                  <a:pt x="329" y="399"/>
                  <a:pt x="340" y="399"/>
                </a:cubicBezTo>
                <a:close/>
                <a:moveTo>
                  <a:pt x="260" y="333"/>
                </a:moveTo>
                <a:cubicBezTo>
                  <a:pt x="271" y="333"/>
                  <a:pt x="280" y="324"/>
                  <a:pt x="280" y="313"/>
                </a:cubicBezTo>
                <a:cubicBezTo>
                  <a:pt x="280" y="302"/>
                  <a:pt x="271" y="293"/>
                  <a:pt x="260" y="293"/>
                </a:cubicBezTo>
                <a:cubicBezTo>
                  <a:pt x="249" y="293"/>
                  <a:pt x="240" y="302"/>
                  <a:pt x="240" y="313"/>
                </a:cubicBezTo>
                <a:cubicBezTo>
                  <a:pt x="240" y="324"/>
                  <a:pt x="249" y="333"/>
                  <a:pt x="260" y="333"/>
                </a:cubicBezTo>
                <a:close/>
                <a:moveTo>
                  <a:pt x="340" y="333"/>
                </a:moveTo>
                <a:cubicBezTo>
                  <a:pt x="351" y="333"/>
                  <a:pt x="360" y="324"/>
                  <a:pt x="360" y="313"/>
                </a:cubicBezTo>
                <a:cubicBezTo>
                  <a:pt x="360" y="302"/>
                  <a:pt x="351" y="293"/>
                  <a:pt x="340" y="293"/>
                </a:cubicBezTo>
                <a:cubicBezTo>
                  <a:pt x="329" y="293"/>
                  <a:pt x="320" y="302"/>
                  <a:pt x="320" y="313"/>
                </a:cubicBezTo>
                <a:cubicBezTo>
                  <a:pt x="320" y="324"/>
                  <a:pt x="329" y="333"/>
                  <a:pt x="340" y="333"/>
                </a:cubicBezTo>
                <a:close/>
                <a:moveTo>
                  <a:pt x="100" y="399"/>
                </a:moveTo>
                <a:cubicBezTo>
                  <a:pt x="111" y="399"/>
                  <a:pt x="120" y="390"/>
                  <a:pt x="120" y="379"/>
                </a:cubicBezTo>
                <a:cubicBezTo>
                  <a:pt x="120" y="368"/>
                  <a:pt x="111" y="359"/>
                  <a:pt x="100" y="359"/>
                </a:cubicBezTo>
                <a:cubicBezTo>
                  <a:pt x="89" y="359"/>
                  <a:pt x="80" y="368"/>
                  <a:pt x="80" y="379"/>
                </a:cubicBezTo>
                <a:cubicBezTo>
                  <a:pt x="80" y="390"/>
                  <a:pt x="89" y="399"/>
                  <a:pt x="100" y="399"/>
                </a:cubicBezTo>
                <a:close/>
                <a:moveTo>
                  <a:pt x="180" y="333"/>
                </a:moveTo>
                <a:cubicBezTo>
                  <a:pt x="191" y="333"/>
                  <a:pt x="200" y="324"/>
                  <a:pt x="200" y="313"/>
                </a:cubicBezTo>
                <a:cubicBezTo>
                  <a:pt x="200" y="302"/>
                  <a:pt x="191" y="293"/>
                  <a:pt x="180" y="293"/>
                </a:cubicBezTo>
                <a:cubicBezTo>
                  <a:pt x="169" y="293"/>
                  <a:pt x="160" y="302"/>
                  <a:pt x="160" y="313"/>
                </a:cubicBezTo>
                <a:cubicBezTo>
                  <a:pt x="160" y="324"/>
                  <a:pt x="169" y="333"/>
                  <a:pt x="180" y="333"/>
                </a:cubicBezTo>
                <a:close/>
                <a:moveTo>
                  <a:pt x="100" y="333"/>
                </a:moveTo>
                <a:cubicBezTo>
                  <a:pt x="111" y="333"/>
                  <a:pt x="120" y="324"/>
                  <a:pt x="120" y="313"/>
                </a:cubicBezTo>
                <a:cubicBezTo>
                  <a:pt x="120" y="302"/>
                  <a:pt x="111" y="293"/>
                  <a:pt x="100" y="293"/>
                </a:cubicBezTo>
                <a:cubicBezTo>
                  <a:pt x="89" y="293"/>
                  <a:pt x="80" y="302"/>
                  <a:pt x="80" y="313"/>
                </a:cubicBezTo>
                <a:cubicBezTo>
                  <a:pt x="80" y="324"/>
                  <a:pt x="89" y="333"/>
                  <a:pt x="100" y="333"/>
                </a:cubicBezTo>
                <a:close/>
                <a:moveTo>
                  <a:pt x="180" y="399"/>
                </a:moveTo>
                <a:cubicBezTo>
                  <a:pt x="191" y="399"/>
                  <a:pt x="200" y="390"/>
                  <a:pt x="200" y="379"/>
                </a:cubicBezTo>
                <a:cubicBezTo>
                  <a:pt x="200" y="368"/>
                  <a:pt x="191" y="359"/>
                  <a:pt x="180" y="359"/>
                </a:cubicBezTo>
                <a:cubicBezTo>
                  <a:pt x="169" y="359"/>
                  <a:pt x="160" y="368"/>
                  <a:pt x="160" y="379"/>
                </a:cubicBezTo>
                <a:cubicBezTo>
                  <a:pt x="160" y="390"/>
                  <a:pt x="169" y="399"/>
                  <a:pt x="180" y="399"/>
                </a:cubicBezTo>
                <a:close/>
                <a:moveTo>
                  <a:pt x="260" y="639"/>
                </a:moveTo>
                <a:cubicBezTo>
                  <a:pt x="271" y="639"/>
                  <a:pt x="280" y="630"/>
                  <a:pt x="280" y="619"/>
                </a:cubicBezTo>
                <a:cubicBezTo>
                  <a:pt x="280" y="608"/>
                  <a:pt x="271" y="599"/>
                  <a:pt x="260" y="599"/>
                </a:cubicBezTo>
                <a:cubicBezTo>
                  <a:pt x="249" y="599"/>
                  <a:pt x="240" y="608"/>
                  <a:pt x="240" y="619"/>
                </a:cubicBezTo>
                <a:cubicBezTo>
                  <a:pt x="240" y="630"/>
                  <a:pt x="249" y="639"/>
                  <a:pt x="260" y="639"/>
                </a:cubicBezTo>
                <a:close/>
                <a:moveTo>
                  <a:pt x="260" y="573"/>
                </a:moveTo>
                <a:cubicBezTo>
                  <a:pt x="271" y="573"/>
                  <a:pt x="280" y="564"/>
                  <a:pt x="280" y="553"/>
                </a:cubicBezTo>
                <a:cubicBezTo>
                  <a:pt x="280" y="542"/>
                  <a:pt x="271" y="533"/>
                  <a:pt x="260" y="533"/>
                </a:cubicBezTo>
                <a:cubicBezTo>
                  <a:pt x="249" y="533"/>
                  <a:pt x="240" y="542"/>
                  <a:pt x="240" y="553"/>
                </a:cubicBezTo>
                <a:cubicBezTo>
                  <a:pt x="240" y="564"/>
                  <a:pt x="249" y="573"/>
                  <a:pt x="260" y="573"/>
                </a:cubicBezTo>
                <a:close/>
                <a:moveTo>
                  <a:pt x="180" y="573"/>
                </a:moveTo>
                <a:cubicBezTo>
                  <a:pt x="191" y="573"/>
                  <a:pt x="200" y="564"/>
                  <a:pt x="200" y="553"/>
                </a:cubicBezTo>
                <a:cubicBezTo>
                  <a:pt x="200" y="542"/>
                  <a:pt x="191" y="533"/>
                  <a:pt x="180" y="533"/>
                </a:cubicBezTo>
                <a:cubicBezTo>
                  <a:pt x="169" y="533"/>
                  <a:pt x="160" y="542"/>
                  <a:pt x="160" y="553"/>
                </a:cubicBezTo>
                <a:cubicBezTo>
                  <a:pt x="160" y="564"/>
                  <a:pt x="169" y="573"/>
                  <a:pt x="180" y="573"/>
                </a:cubicBezTo>
                <a:close/>
                <a:moveTo>
                  <a:pt x="340" y="639"/>
                </a:moveTo>
                <a:cubicBezTo>
                  <a:pt x="351" y="639"/>
                  <a:pt x="360" y="630"/>
                  <a:pt x="360" y="619"/>
                </a:cubicBezTo>
                <a:cubicBezTo>
                  <a:pt x="360" y="608"/>
                  <a:pt x="351" y="599"/>
                  <a:pt x="340" y="599"/>
                </a:cubicBezTo>
                <a:cubicBezTo>
                  <a:pt x="329" y="599"/>
                  <a:pt x="320" y="608"/>
                  <a:pt x="320" y="619"/>
                </a:cubicBezTo>
                <a:cubicBezTo>
                  <a:pt x="320" y="630"/>
                  <a:pt x="329" y="639"/>
                  <a:pt x="340" y="639"/>
                </a:cubicBezTo>
                <a:close/>
                <a:moveTo>
                  <a:pt x="340" y="573"/>
                </a:moveTo>
                <a:cubicBezTo>
                  <a:pt x="351" y="573"/>
                  <a:pt x="360" y="564"/>
                  <a:pt x="360" y="553"/>
                </a:cubicBezTo>
                <a:cubicBezTo>
                  <a:pt x="360" y="542"/>
                  <a:pt x="351" y="533"/>
                  <a:pt x="340" y="533"/>
                </a:cubicBezTo>
                <a:cubicBezTo>
                  <a:pt x="329" y="533"/>
                  <a:pt x="320" y="542"/>
                  <a:pt x="320" y="553"/>
                </a:cubicBezTo>
                <a:cubicBezTo>
                  <a:pt x="320" y="564"/>
                  <a:pt x="329" y="573"/>
                  <a:pt x="340" y="573"/>
                </a:cubicBezTo>
                <a:close/>
                <a:moveTo>
                  <a:pt x="100" y="639"/>
                </a:moveTo>
                <a:cubicBezTo>
                  <a:pt x="111" y="639"/>
                  <a:pt x="120" y="630"/>
                  <a:pt x="120" y="619"/>
                </a:cubicBezTo>
                <a:cubicBezTo>
                  <a:pt x="120" y="608"/>
                  <a:pt x="111" y="599"/>
                  <a:pt x="100" y="599"/>
                </a:cubicBezTo>
                <a:cubicBezTo>
                  <a:pt x="89" y="599"/>
                  <a:pt x="80" y="608"/>
                  <a:pt x="80" y="619"/>
                </a:cubicBezTo>
                <a:cubicBezTo>
                  <a:pt x="80" y="630"/>
                  <a:pt x="89" y="639"/>
                  <a:pt x="100" y="639"/>
                </a:cubicBezTo>
                <a:close/>
                <a:moveTo>
                  <a:pt x="180" y="639"/>
                </a:moveTo>
                <a:cubicBezTo>
                  <a:pt x="191" y="639"/>
                  <a:pt x="200" y="630"/>
                  <a:pt x="200" y="619"/>
                </a:cubicBezTo>
                <a:cubicBezTo>
                  <a:pt x="200" y="608"/>
                  <a:pt x="191" y="599"/>
                  <a:pt x="180" y="599"/>
                </a:cubicBezTo>
                <a:cubicBezTo>
                  <a:pt x="169" y="599"/>
                  <a:pt x="160" y="608"/>
                  <a:pt x="160" y="619"/>
                </a:cubicBezTo>
                <a:cubicBezTo>
                  <a:pt x="160" y="630"/>
                  <a:pt x="169" y="639"/>
                  <a:pt x="180" y="639"/>
                </a:cubicBezTo>
                <a:close/>
                <a:moveTo>
                  <a:pt x="100" y="573"/>
                </a:moveTo>
                <a:cubicBezTo>
                  <a:pt x="111" y="573"/>
                  <a:pt x="120" y="564"/>
                  <a:pt x="120" y="553"/>
                </a:cubicBezTo>
                <a:cubicBezTo>
                  <a:pt x="120" y="542"/>
                  <a:pt x="111" y="533"/>
                  <a:pt x="100" y="533"/>
                </a:cubicBezTo>
                <a:cubicBezTo>
                  <a:pt x="89" y="533"/>
                  <a:pt x="80" y="542"/>
                  <a:pt x="80" y="553"/>
                </a:cubicBezTo>
                <a:cubicBezTo>
                  <a:pt x="80" y="564"/>
                  <a:pt x="89" y="573"/>
                  <a:pt x="100" y="573"/>
                </a:cubicBezTo>
                <a:close/>
                <a:moveTo>
                  <a:pt x="587" y="386"/>
                </a:moveTo>
                <a:cubicBezTo>
                  <a:pt x="609" y="386"/>
                  <a:pt x="627" y="368"/>
                  <a:pt x="627" y="346"/>
                </a:cubicBezTo>
                <a:cubicBezTo>
                  <a:pt x="627" y="324"/>
                  <a:pt x="609" y="306"/>
                  <a:pt x="587" y="306"/>
                </a:cubicBezTo>
                <a:cubicBezTo>
                  <a:pt x="565" y="306"/>
                  <a:pt x="547" y="324"/>
                  <a:pt x="547" y="346"/>
                </a:cubicBezTo>
                <a:cubicBezTo>
                  <a:pt x="547" y="368"/>
                  <a:pt x="565" y="386"/>
                  <a:pt x="587" y="386"/>
                </a:cubicBezTo>
                <a:close/>
                <a:moveTo>
                  <a:pt x="587" y="626"/>
                </a:moveTo>
                <a:cubicBezTo>
                  <a:pt x="609" y="626"/>
                  <a:pt x="627" y="608"/>
                  <a:pt x="627" y="586"/>
                </a:cubicBezTo>
                <a:cubicBezTo>
                  <a:pt x="627" y="564"/>
                  <a:pt x="609" y="546"/>
                  <a:pt x="587" y="546"/>
                </a:cubicBezTo>
                <a:cubicBezTo>
                  <a:pt x="565" y="546"/>
                  <a:pt x="547" y="564"/>
                  <a:pt x="547" y="586"/>
                </a:cubicBezTo>
                <a:cubicBezTo>
                  <a:pt x="547" y="608"/>
                  <a:pt x="565" y="626"/>
                  <a:pt x="587" y="626"/>
                </a:cubicBezTo>
                <a:close/>
                <a:moveTo>
                  <a:pt x="587" y="66"/>
                </a:moveTo>
                <a:cubicBezTo>
                  <a:pt x="565" y="66"/>
                  <a:pt x="547" y="84"/>
                  <a:pt x="547" y="106"/>
                </a:cubicBezTo>
                <a:cubicBezTo>
                  <a:pt x="547" y="128"/>
                  <a:pt x="565" y="146"/>
                  <a:pt x="587" y="146"/>
                </a:cubicBezTo>
                <a:cubicBezTo>
                  <a:pt x="609" y="146"/>
                  <a:pt x="627" y="128"/>
                  <a:pt x="627" y="106"/>
                </a:cubicBezTo>
                <a:cubicBezTo>
                  <a:pt x="627" y="84"/>
                  <a:pt x="609" y="66"/>
                  <a:pt x="587" y="6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endParaRPr lang="de-DE" sz="2299"/>
          </a:p>
        </p:txBody>
      </p:sp>
      <p:grpSp>
        <p:nvGrpSpPr>
          <p:cNvPr id="16" name="Gruppieren 82">
            <a:extLst>
              <a:ext uri="{FF2B5EF4-FFF2-40B4-BE49-F238E27FC236}">
                <a16:creationId xmlns:a16="http://schemas.microsoft.com/office/drawing/2014/main" id="{550CBD29-7524-F457-FD69-CDCCCB893A2D}"/>
              </a:ext>
            </a:extLst>
          </p:cNvPr>
          <p:cNvGrpSpPr/>
          <p:nvPr/>
        </p:nvGrpSpPr>
        <p:grpSpPr>
          <a:xfrm>
            <a:off x="548764" y="1686292"/>
            <a:ext cx="277754" cy="552803"/>
            <a:chOff x="6481763" y="3667125"/>
            <a:chExt cx="400050" cy="750887"/>
          </a:xfrm>
          <a:solidFill>
            <a:schemeClr val="tx1"/>
          </a:solidFill>
        </p:grpSpPr>
        <p:sp>
          <p:nvSpPr>
            <p:cNvPr id="17" name="Freeform 135">
              <a:extLst>
                <a:ext uri="{FF2B5EF4-FFF2-40B4-BE49-F238E27FC236}">
                  <a16:creationId xmlns:a16="http://schemas.microsoft.com/office/drawing/2014/main" id="{A04BE7A0-90A4-14B1-9695-D96A21861F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1763" y="3667125"/>
              <a:ext cx="400050" cy="750887"/>
            </a:xfrm>
            <a:custGeom>
              <a:avLst/>
              <a:gdLst>
                <a:gd name="T0" fmla="*/ 387 w 427"/>
                <a:gd name="T1" fmla="*/ 27 h 800"/>
                <a:gd name="T2" fmla="*/ 214 w 427"/>
                <a:gd name="T3" fmla="*/ 0 h 800"/>
                <a:gd name="T4" fmla="*/ 40 w 427"/>
                <a:gd name="T5" fmla="*/ 27 h 800"/>
                <a:gd name="T6" fmla="*/ 0 w 427"/>
                <a:gd name="T7" fmla="*/ 87 h 800"/>
                <a:gd name="T8" fmla="*/ 0 w 427"/>
                <a:gd name="T9" fmla="*/ 718 h 800"/>
                <a:gd name="T10" fmla="*/ 40 w 427"/>
                <a:gd name="T11" fmla="*/ 773 h 800"/>
                <a:gd name="T12" fmla="*/ 214 w 427"/>
                <a:gd name="T13" fmla="*/ 800 h 800"/>
                <a:gd name="T14" fmla="*/ 387 w 427"/>
                <a:gd name="T15" fmla="*/ 773 h 800"/>
                <a:gd name="T16" fmla="*/ 427 w 427"/>
                <a:gd name="T17" fmla="*/ 718 h 800"/>
                <a:gd name="T18" fmla="*/ 427 w 427"/>
                <a:gd name="T19" fmla="*/ 87 h 800"/>
                <a:gd name="T20" fmla="*/ 387 w 427"/>
                <a:gd name="T21" fmla="*/ 27 h 800"/>
                <a:gd name="T22" fmla="*/ 387 w 427"/>
                <a:gd name="T23" fmla="*/ 718 h 800"/>
                <a:gd name="T24" fmla="*/ 374 w 427"/>
                <a:gd name="T25" fmla="*/ 735 h 800"/>
                <a:gd name="T26" fmla="*/ 214 w 427"/>
                <a:gd name="T27" fmla="*/ 760 h 800"/>
                <a:gd name="T28" fmla="*/ 53 w 427"/>
                <a:gd name="T29" fmla="*/ 735 h 800"/>
                <a:gd name="T30" fmla="*/ 40 w 427"/>
                <a:gd name="T31" fmla="*/ 718 h 800"/>
                <a:gd name="T32" fmla="*/ 40 w 427"/>
                <a:gd name="T33" fmla="*/ 653 h 800"/>
                <a:gd name="T34" fmla="*/ 387 w 427"/>
                <a:gd name="T35" fmla="*/ 653 h 800"/>
                <a:gd name="T36" fmla="*/ 387 w 427"/>
                <a:gd name="T37" fmla="*/ 718 h 800"/>
                <a:gd name="T38" fmla="*/ 387 w 427"/>
                <a:gd name="T39" fmla="*/ 627 h 800"/>
                <a:gd name="T40" fmla="*/ 40 w 427"/>
                <a:gd name="T41" fmla="*/ 627 h 800"/>
                <a:gd name="T42" fmla="*/ 40 w 427"/>
                <a:gd name="T43" fmla="*/ 133 h 800"/>
                <a:gd name="T44" fmla="*/ 387 w 427"/>
                <a:gd name="T45" fmla="*/ 133 h 800"/>
                <a:gd name="T46" fmla="*/ 387 w 427"/>
                <a:gd name="T47" fmla="*/ 627 h 800"/>
                <a:gd name="T48" fmla="*/ 387 w 427"/>
                <a:gd name="T49" fmla="*/ 107 h 800"/>
                <a:gd name="T50" fmla="*/ 40 w 427"/>
                <a:gd name="T51" fmla="*/ 107 h 800"/>
                <a:gd name="T52" fmla="*/ 40 w 427"/>
                <a:gd name="T53" fmla="*/ 87 h 800"/>
                <a:gd name="T54" fmla="*/ 53 w 427"/>
                <a:gd name="T55" fmla="*/ 65 h 800"/>
                <a:gd name="T56" fmla="*/ 214 w 427"/>
                <a:gd name="T57" fmla="*/ 40 h 800"/>
                <a:gd name="T58" fmla="*/ 374 w 427"/>
                <a:gd name="T59" fmla="*/ 65 h 800"/>
                <a:gd name="T60" fmla="*/ 387 w 427"/>
                <a:gd name="T61" fmla="*/ 87 h 800"/>
                <a:gd name="T62" fmla="*/ 387 w 427"/>
                <a:gd name="T63" fmla="*/ 10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7" h="800">
                  <a:moveTo>
                    <a:pt x="387" y="27"/>
                  </a:moveTo>
                  <a:cubicBezTo>
                    <a:pt x="333" y="10"/>
                    <a:pt x="267" y="0"/>
                    <a:pt x="214" y="0"/>
                  </a:cubicBezTo>
                  <a:cubicBezTo>
                    <a:pt x="158" y="0"/>
                    <a:pt x="93" y="9"/>
                    <a:pt x="40" y="27"/>
                  </a:cubicBezTo>
                  <a:cubicBezTo>
                    <a:pt x="0" y="40"/>
                    <a:pt x="0" y="87"/>
                    <a:pt x="0" y="87"/>
                  </a:cubicBezTo>
                  <a:cubicBezTo>
                    <a:pt x="0" y="718"/>
                    <a:pt x="0" y="718"/>
                    <a:pt x="0" y="718"/>
                  </a:cubicBezTo>
                  <a:cubicBezTo>
                    <a:pt x="0" y="718"/>
                    <a:pt x="0" y="760"/>
                    <a:pt x="40" y="773"/>
                  </a:cubicBezTo>
                  <a:cubicBezTo>
                    <a:pt x="69" y="782"/>
                    <a:pt x="134" y="800"/>
                    <a:pt x="214" y="800"/>
                  </a:cubicBezTo>
                  <a:cubicBezTo>
                    <a:pt x="270" y="800"/>
                    <a:pt x="334" y="791"/>
                    <a:pt x="387" y="773"/>
                  </a:cubicBezTo>
                  <a:cubicBezTo>
                    <a:pt x="427" y="760"/>
                    <a:pt x="427" y="718"/>
                    <a:pt x="427" y="718"/>
                  </a:cubicBezTo>
                  <a:cubicBezTo>
                    <a:pt x="427" y="87"/>
                    <a:pt x="427" y="87"/>
                    <a:pt x="427" y="87"/>
                  </a:cubicBezTo>
                  <a:cubicBezTo>
                    <a:pt x="427" y="87"/>
                    <a:pt x="427" y="40"/>
                    <a:pt x="387" y="27"/>
                  </a:cubicBezTo>
                  <a:close/>
                  <a:moveTo>
                    <a:pt x="387" y="718"/>
                  </a:moveTo>
                  <a:cubicBezTo>
                    <a:pt x="387" y="718"/>
                    <a:pt x="387" y="731"/>
                    <a:pt x="374" y="735"/>
                  </a:cubicBezTo>
                  <a:cubicBezTo>
                    <a:pt x="329" y="751"/>
                    <a:pt x="269" y="760"/>
                    <a:pt x="214" y="760"/>
                  </a:cubicBezTo>
                  <a:cubicBezTo>
                    <a:pt x="138" y="760"/>
                    <a:pt x="76" y="743"/>
                    <a:pt x="53" y="735"/>
                  </a:cubicBezTo>
                  <a:cubicBezTo>
                    <a:pt x="42" y="732"/>
                    <a:pt x="41" y="722"/>
                    <a:pt x="40" y="718"/>
                  </a:cubicBezTo>
                  <a:cubicBezTo>
                    <a:pt x="40" y="653"/>
                    <a:pt x="40" y="653"/>
                    <a:pt x="40" y="653"/>
                  </a:cubicBezTo>
                  <a:cubicBezTo>
                    <a:pt x="387" y="653"/>
                    <a:pt x="387" y="653"/>
                    <a:pt x="387" y="653"/>
                  </a:cubicBezTo>
                  <a:lnTo>
                    <a:pt x="387" y="718"/>
                  </a:lnTo>
                  <a:close/>
                  <a:moveTo>
                    <a:pt x="387" y="627"/>
                  </a:moveTo>
                  <a:cubicBezTo>
                    <a:pt x="40" y="627"/>
                    <a:pt x="40" y="627"/>
                    <a:pt x="40" y="627"/>
                  </a:cubicBezTo>
                  <a:cubicBezTo>
                    <a:pt x="40" y="133"/>
                    <a:pt x="40" y="133"/>
                    <a:pt x="40" y="133"/>
                  </a:cubicBezTo>
                  <a:cubicBezTo>
                    <a:pt x="387" y="133"/>
                    <a:pt x="387" y="133"/>
                    <a:pt x="387" y="133"/>
                  </a:cubicBezTo>
                  <a:lnTo>
                    <a:pt x="387" y="627"/>
                  </a:lnTo>
                  <a:close/>
                  <a:moveTo>
                    <a:pt x="387" y="107"/>
                  </a:moveTo>
                  <a:cubicBezTo>
                    <a:pt x="40" y="107"/>
                    <a:pt x="40" y="107"/>
                    <a:pt x="40" y="10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87"/>
                    <a:pt x="41" y="69"/>
                    <a:pt x="53" y="65"/>
                  </a:cubicBezTo>
                  <a:cubicBezTo>
                    <a:pt x="99" y="49"/>
                    <a:pt x="159" y="40"/>
                    <a:pt x="214" y="40"/>
                  </a:cubicBezTo>
                  <a:cubicBezTo>
                    <a:pt x="266" y="40"/>
                    <a:pt x="328" y="50"/>
                    <a:pt x="374" y="65"/>
                  </a:cubicBezTo>
                  <a:cubicBezTo>
                    <a:pt x="386" y="69"/>
                    <a:pt x="387" y="87"/>
                    <a:pt x="387" y="87"/>
                  </a:cubicBezTo>
                  <a:lnTo>
                    <a:pt x="387" y="10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endParaRPr lang="de-DE" sz="2299"/>
            </a:p>
          </p:txBody>
        </p:sp>
        <p:sp>
          <p:nvSpPr>
            <p:cNvPr id="18" name="Freeform 136">
              <a:extLst>
                <a:ext uri="{FF2B5EF4-FFF2-40B4-BE49-F238E27FC236}">
                  <a16:creationId xmlns:a16="http://schemas.microsoft.com/office/drawing/2014/main" id="{FBE7BA67-FD34-254E-1EFE-7D53D4241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6388" y="4305300"/>
              <a:ext cx="50800" cy="49212"/>
            </a:xfrm>
            <a:custGeom>
              <a:avLst/>
              <a:gdLst>
                <a:gd name="T0" fmla="*/ 13 w 53"/>
                <a:gd name="T1" fmla="*/ 53 h 53"/>
                <a:gd name="T2" fmla="*/ 40 w 53"/>
                <a:gd name="T3" fmla="*/ 53 h 53"/>
                <a:gd name="T4" fmla="*/ 53 w 53"/>
                <a:gd name="T5" fmla="*/ 40 h 53"/>
                <a:gd name="T6" fmla="*/ 53 w 53"/>
                <a:gd name="T7" fmla="*/ 13 h 53"/>
                <a:gd name="T8" fmla="*/ 40 w 53"/>
                <a:gd name="T9" fmla="*/ 0 h 53"/>
                <a:gd name="T10" fmla="*/ 13 w 53"/>
                <a:gd name="T11" fmla="*/ 0 h 53"/>
                <a:gd name="T12" fmla="*/ 0 w 53"/>
                <a:gd name="T13" fmla="*/ 13 h 53"/>
                <a:gd name="T14" fmla="*/ 0 w 53"/>
                <a:gd name="T15" fmla="*/ 40 h 53"/>
                <a:gd name="T16" fmla="*/ 13 w 53"/>
                <a:gd name="T1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3">
                  <a:moveTo>
                    <a:pt x="13" y="53"/>
                  </a:moveTo>
                  <a:cubicBezTo>
                    <a:pt x="40" y="53"/>
                    <a:pt x="40" y="53"/>
                    <a:pt x="40" y="53"/>
                  </a:cubicBezTo>
                  <a:cubicBezTo>
                    <a:pt x="47" y="53"/>
                    <a:pt x="53" y="47"/>
                    <a:pt x="53" y="40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6"/>
                    <a:pt x="47" y="0"/>
                    <a:pt x="4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7"/>
                    <a:pt x="6" y="53"/>
                    <a:pt x="13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endParaRPr lang="de-DE" sz="2299"/>
            </a:p>
          </p:txBody>
        </p:sp>
      </p:grpSp>
      <p:pic>
        <p:nvPicPr>
          <p:cNvPr id="19" name="Grafik 31">
            <a:extLst>
              <a:ext uri="{FF2B5EF4-FFF2-40B4-BE49-F238E27FC236}">
                <a16:creationId xmlns:a16="http://schemas.microsoft.com/office/drawing/2014/main" id="{7DA2B6A8-9CF5-8686-CE07-2DD0E7CA68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59341" y="1903107"/>
            <a:ext cx="590460" cy="190471"/>
          </a:xfrm>
          <a:prstGeom prst="rect">
            <a:avLst/>
          </a:prstGeom>
        </p:spPr>
      </p:pic>
      <p:sp>
        <p:nvSpPr>
          <p:cNvPr id="20" name="Freeform 135">
            <a:extLst>
              <a:ext uri="{FF2B5EF4-FFF2-40B4-BE49-F238E27FC236}">
                <a16:creationId xmlns:a16="http://schemas.microsoft.com/office/drawing/2014/main" id="{DD2D8506-C196-72D3-09EC-7BEDC6A8CC0B}"/>
              </a:ext>
            </a:extLst>
          </p:cNvPr>
          <p:cNvSpPr>
            <a:spLocks noEditPoints="1"/>
          </p:cNvSpPr>
          <p:nvPr/>
        </p:nvSpPr>
        <p:spPr bwMode="auto">
          <a:xfrm>
            <a:off x="790605" y="2147805"/>
            <a:ext cx="438378" cy="532692"/>
          </a:xfrm>
          <a:custGeom>
            <a:avLst/>
            <a:gdLst>
              <a:gd name="T0" fmla="*/ 229 w 628"/>
              <a:gd name="T1" fmla="*/ 378 h 802"/>
              <a:gd name="T2" fmla="*/ 129 w 628"/>
              <a:gd name="T3" fmla="*/ 321 h 802"/>
              <a:gd name="T4" fmla="*/ 81 w 628"/>
              <a:gd name="T5" fmla="*/ 332 h 802"/>
              <a:gd name="T6" fmla="*/ 21 w 628"/>
              <a:gd name="T7" fmla="*/ 475 h 802"/>
              <a:gd name="T8" fmla="*/ 22 w 628"/>
              <a:gd name="T9" fmla="*/ 481 h 802"/>
              <a:gd name="T10" fmla="*/ 138 w 628"/>
              <a:gd name="T11" fmla="*/ 802 h 802"/>
              <a:gd name="T12" fmla="*/ 444 w 628"/>
              <a:gd name="T13" fmla="*/ 802 h 802"/>
              <a:gd name="T14" fmla="*/ 232 w 628"/>
              <a:gd name="T15" fmla="*/ 383 h 802"/>
              <a:gd name="T16" fmla="*/ 229 w 628"/>
              <a:gd name="T17" fmla="*/ 378 h 802"/>
              <a:gd name="T18" fmla="*/ 166 w 628"/>
              <a:gd name="T19" fmla="*/ 762 h 802"/>
              <a:gd name="T20" fmla="*/ 60 w 628"/>
              <a:gd name="T21" fmla="*/ 468 h 802"/>
              <a:gd name="T22" fmla="*/ 60 w 628"/>
              <a:gd name="T23" fmla="*/ 468 h 802"/>
              <a:gd name="T24" fmla="*/ 59 w 628"/>
              <a:gd name="T25" fmla="*/ 465 h 802"/>
              <a:gd name="T26" fmla="*/ 58 w 628"/>
              <a:gd name="T27" fmla="*/ 462 h 802"/>
              <a:gd name="T28" fmla="*/ 97 w 628"/>
              <a:gd name="T29" fmla="*/ 368 h 802"/>
              <a:gd name="T30" fmla="*/ 129 w 628"/>
              <a:gd name="T31" fmla="*/ 361 h 802"/>
              <a:gd name="T32" fmla="*/ 194 w 628"/>
              <a:gd name="T33" fmla="*/ 398 h 802"/>
              <a:gd name="T34" fmla="*/ 196 w 628"/>
              <a:gd name="T35" fmla="*/ 401 h 802"/>
              <a:gd name="T36" fmla="*/ 198 w 628"/>
              <a:gd name="T37" fmla="*/ 403 h 802"/>
              <a:gd name="T38" fmla="*/ 380 w 628"/>
              <a:gd name="T39" fmla="*/ 762 h 802"/>
              <a:gd name="T40" fmla="*/ 166 w 628"/>
              <a:gd name="T41" fmla="*/ 762 h 802"/>
              <a:gd name="T42" fmla="*/ 346 w 628"/>
              <a:gd name="T43" fmla="*/ 220 h 802"/>
              <a:gd name="T44" fmla="*/ 381 w 628"/>
              <a:gd name="T45" fmla="*/ 261 h 802"/>
              <a:gd name="T46" fmla="*/ 264 w 628"/>
              <a:gd name="T47" fmla="*/ 387 h 802"/>
              <a:gd name="T48" fmla="*/ 284 w 628"/>
              <a:gd name="T49" fmla="*/ 425 h 802"/>
              <a:gd name="T50" fmla="*/ 415 w 628"/>
              <a:gd name="T51" fmla="*/ 283 h 802"/>
              <a:gd name="T52" fmla="*/ 416 w 628"/>
              <a:gd name="T53" fmla="*/ 240 h 802"/>
              <a:gd name="T54" fmla="*/ 372 w 628"/>
              <a:gd name="T55" fmla="*/ 189 h 802"/>
              <a:gd name="T56" fmla="*/ 347 w 628"/>
              <a:gd name="T57" fmla="*/ 178 h 802"/>
              <a:gd name="T58" fmla="*/ 330 w 628"/>
              <a:gd name="T59" fmla="*/ 182 h 802"/>
              <a:gd name="T60" fmla="*/ 154 w 628"/>
              <a:gd name="T61" fmla="*/ 297 h 802"/>
              <a:gd name="T62" fmla="*/ 201 w 628"/>
              <a:gd name="T63" fmla="*/ 314 h 802"/>
              <a:gd name="T64" fmla="*/ 346 w 628"/>
              <a:gd name="T65" fmla="*/ 220 h 802"/>
              <a:gd name="T66" fmla="*/ 126 w 628"/>
              <a:gd name="T67" fmla="*/ 387 h 802"/>
              <a:gd name="T68" fmla="*/ 79 w 628"/>
              <a:gd name="T69" fmla="*/ 434 h 802"/>
              <a:gd name="T70" fmla="*/ 126 w 628"/>
              <a:gd name="T71" fmla="*/ 481 h 802"/>
              <a:gd name="T72" fmla="*/ 172 w 628"/>
              <a:gd name="T73" fmla="*/ 434 h 802"/>
              <a:gd name="T74" fmla="*/ 126 w 628"/>
              <a:gd name="T75" fmla="*/ 387 h 802"/>
              <a:gd name="T76" fmla="*/ 126 w 628"/>
              <a:gd name="T77" fmla="*/ 454 h 802"/>
              <a:gd name="T78" fmla="*/ 106 w 628"/>
              <a:gd name="T79" fmla="*/ 434 h 802"/>
              <a:gd name="T80" fmla="*/ 126 w 628"/>
              <a:gd name="T81" fmla="*/ 414 h 802"/>
              <a:gd name="T82" fmla="*/ 146 w 628"/>
              <a:gd name="T83" fmla="*/ 434 h 802"/>
              <a:gd name="T84" fmla="*/ 126 w 628"/>
              <a:gd name="T85" fmla="*/ 454 h 802"/>
              <a:gd name="T86" fmla="*/ 618 w 628"/>
              <a:gd name="T87" fmla="*/ 110 h 802"/>
              <a:gd name="T88" fmla="*/ 590 w 628"/>
              <a:gd name="T89" fmla="*/ 113 h 802"/>
              <a:gd name="T90" fmla="*/ 500 w 628"/>
              <a:gd name="T91" fmla="*/ 225 h 802"/>
              <a:gd name="T92" fmla="*/ 498 w 628"/>
              <a:gd name="T93" fmla="*/ 226 h 802"/>
              <a:gd name="T94" fmla="*/ 496 w 628"/>
              <a:gd name="T95" fmla="*/ 225 h 802"/>
              <a:gd name="T96" fmla="*/ 402 w 628"/>
              <a:gd name="T97" fmla="*/ 115 h 802"/>
              <a:gd name="T98" fmla="*/ 402 w 628"/>
              <a:gd name="T99" fmla="*/ 113 h 802"/>
              <a:gd name="T100" fmla="*/ 403 w 628"/>
              <a:gd name="T101" fmla="*/ 112 h 802"/>
              <a:gd name="T102" fmla="*/ 529 w 628"/>
              <a:gd name="T103" fmla="*/ 40 h 802"/>
              <a:gd name="T104" fmla="*/ 536 w 628"/>
              <a:gd name="T105" fmla="*/ 13 h 802"/>
              <a:gd name="T106" fmla="*/ 509 w 628"/>
              <a:gd name="T107" fmla="*/ 6 h 802"/>
              <a:gd name="T108" fmla="*/ 383 w 628"/>
              <a:gd name="T109" fmla="*/ 77 h 802"/>
              <a:gd name="T110" fmla="*/ 362 w 628"/>
              <a:gd name="T111" fmla="*/ 106 h 802"/>
              <a:gd name="T112" fmla="*/ 372 w 628"/>
              <a:gd name="T113" fmla="*/ 141 h 802"/>
              <a:gd name="T114" fmla="*/ 466 w 628"/>
              <a:gd name="T115" fmla="*/ 251 h 802"/>
              <a:gd name="T116" fmla="*/ 498 w 628"/>
              <a:gd name="T117" fmla="*/ 266 h 802"/>
              <a:gd name="T118" fmla="*/ 499 w 628"/>
              <a:gd name="T119" fmla="*/ 266 h 802"/>
              <a:gd name="T120" fmla="*/ 531 w 628"/>
              <a:gd name="T121" fmla="*/ 250 h 802"/>
              <a:gd name="T122" fmla="*/ 621 w 628"/>
              <a:gd name="T123" fmla="*/ 138 h 802"/>
              <a:gd name="T124" fmla="*/ 618 w 628"/>
              <a:gd name="T125" fmla="*/ 110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28" h="802">
                <a:moveTo>
                  <a:pt x="229" y="378"/>
                </a:moveTo>
                <a:cubicBezTo>
                  <a:pt x="208" y="342"/>
                  <a:pt x="169" y="321"/>
                  <a:pt x="129" y="321"/>
                </a:cubicBezTo>
                <a:cubicBezTo>
                  <a:pt x="113" y="321"/>
                  <a:pt x="96" y="324"/>
                  <a:pt x="81" y="332"/>
                </a:cubicBezTo>
                <a:cubicBezTo>
                  <a:pt x="26" y="357"/>
                  <a:pt x="0" y="420"/>
                  <a:pt x="21" y="475"/>
                </a:cubicBezTo>
                <a:cubicBezTo>
                  <a:pt x="21" y="477"/>
                  <a:pt x="22" y="479"/>
                  <a:pt x="22" y="481"/>
                </a:cubicBezTo>
                <a:cubicBezTo>
                  <a:pt x="138" y="802"/>
                  <a:pt x="138" y="802"/>
                  <a:pt x="138" y="802"/>
                </a:cubicBezTo>
                <a:cubicBezTo>
                  <a:pt x="444" y="802"/>
                  <a:pt x="444" y="802"/>
                  <a:pt x="444" y="802"/>
                </a:cubicBezTo>
                <a:cubicBezTo>
                  <a:pt x="444" y="800"/>
                  <a:pt x="232" y="383"/>
                  <a:pt x="232" y="383"/>
                </a:cubicBezTo>
                <a:cubicBezTo>
                  <a:pt x="231" y="382"/>
                  <a:pt x="230" y="380"/>
                  <a:pt x="229" y="378"/>
                </a:cubicBezTo>
                <a:close/>
                <a:moveTo>
                  <a:pt x="166" y="762"/>
                </a:moveTo>
                <a:cubicBezTo>
                  <a:pt x="60" y="468"/>
                  <a:pt x="60" y="468"/>
                  <a:pt x="60" y="468"/>
                </a:cubicBezTo>
                <a:cubicBezTo>
                  <a:pt x="60" y="468"/>
                  <a:pt x="60" y="468"/>
                  <a:pt x="60" y="468"/>
                </a:cubicBezTo>
                <a:cubicBezTo>
                  <a:pt x="59" y="465"/>
                  <a:pt x="59" y="465"/>
                  <a:pt x="59" y="465"/>
                </a:cubicBezTo>
                <a:cubicBezTo>
                  <a:pt x="58" y="462"/>
                  <a:pt x="58" y="462"/>
                  <a:pt x="58" y="462"/>
                </a:cubicBezTo>
                <a:cubicBezTo>
                  <a:pt x="45" y="425"/>
                  <a:pt x="62" y="384"/>
                  <a:pt x="97" y="368"/>
                </a:cubicBezTo>
                <a:cubicBezTo>
                  <a:pt x="107" y="363"/>
                  <a:pt x="118" y="361"/>
                  <a:pt x="129" y="361"/>
                </a:cubicBezTo>
                <a:cubicBezTo>
                  <a:pt x="156" y="361"/>
                  <a:pt x="181" y="375"/>
                  <a:pt x="194" y="398"/>
                </a:cubicBezTo>
                <a:cubicBezTo>
                  <a:pt x="196" y="401"/>
                  <a:pt x="196" y="401"/>
                  <a:pt x="196" y="401"/>
                </a:cubicBezTo>
                <a:cubicBezTo>
                  <a:pt x="198" y="403"/>
                  <a:pt x="198" y="403"/>
                  <a:pt x="198" y="403"/>
                </a:cubicBezTo>
                <a:cubicBezTo>
                  <a:pt x="380" y="762"/>
                  <a:pt x="380" y="762"/>
                  <a:pt x="380" y="762"/>
                </a:cubicBezTo>
                <a:lnTo>
                  <a:pt x="166" y="762"/>
                </a:lnTo>
                <a:close/>
                <a:moveTo>
                  <a:pt x="346" y="220"/>
                </a:moveTo>
                <a:cubicBezTo>
                  <a:pt x="381" y="261"/>
                  <a:pt x="381" y="261"/>
                  <a:pt x="381" y="261"/>
                </a:cubicBezTo>
                <a:cubicBezTo>
                  <a:pt x="264" y="387"/>
                  <a:pt x="264" y="387"/>
                  <a:pt x="264" y="387"/>
                </a:cubicBezTo>
                <a:cubicBezTo>
                  <a:pt x="284" y="425"/>
                  <a:pt x="284" y="425"/>
                  <a:pt x="284" y="425"/>
                </a:cubicBezTo>
                <a:cubicBezTo>
                  <a:pt x="415" y="283"/>
                  <a:pt x="415" y="283"/>
                  <a:pt x="415" y="283"/>
                </a:cubicBezTo>
                <a:cubicBezTo>
                  <a:pt x="425" y="272"/>
                  <a:pt x="426" y="252"/>
                  <a:pt x="416" y="240"/>
                </a:cubicBezTo>
                <a:cubicBezTo>
                  <a:pt x="372" y="189"/>
                  <a:pt x="372" y="189"/>
                  <a:pt x="372" y="189"/>
                </a:cubicBezTo>
                <a:cubicBezTo>
                  <a:pt x="366" y="181"/>
                  <a:pt x="357" y="178"/>
                  <a:pt x="347" y="178"/>
                </a:cubicBezTo>
                <a:cubicBezTo>
                  <a:pt x="341" y="178"/>
                  <a:pt x="335" y="179"/>
                  <a:pt x="330" y="182"/>
                </a:cubicBezTo>
                <a:cubicBezTo>
                  <a:pt x="154" y="297"/>
                  <a:pt x="154" y="297"/>
                  <a:pt x="154" y="297"/>
                </a:cubicBezTo>
                <a:cubicBezTo>
                  <a:pt x="171" y="300"/>
                  <a:pt x="187" y="305"/>
                  <a:pt x="201" y="314"/>
                </a:cubicBezTo>
                <a:lnTo>
                  <a:pt x="346" y="220"/>
                </a:lnTo>
                <a:close/>
                <a:moveTo>
                  <a:pt x="126" y="387"/>
                </a:moveTo>
                <a:cubicBezTo>
                  <a:pt x="100" y="387"/>
                  <a:pt x="79" y="408"/>
                  <a:pt x="79" y="434"/>
                </a:cubicBezTo>
                <a:cubicBezTo>
                  <a:pt x="79" y="460"/>
                  <a:pt x="100" y="481"/>
                  <a:pt x="126" y="481"/>
                </a:cubicBezTo>
                <a:cubicBezTo>
                  <a:pt x="152" y="481"/>
                  <a:pt x="172" y="460"/>
                  <a:pt x="172" y="434"/>
                </a:cubicBezTo>
                <a:cubicBezTo>
                  <a:pt x="172" y="408"/>
                  <a:pt x="152" y="387"/>
                  <a:pt x="126" y="387"/>
                </a:cubicBezTo>
                <a:close/>
                <a:moveTo>
                  <a:pt x="126" y="454"/>
                </a:moveTo>
                <a:cubicBezTo>
                  <a:pt x="115" y="454"/>
                  <a:pt x="106" y="445"/>
                  <a:pt x="106" y="434"/>
                </a:cubicBezTo>
                <a:cubicBezTo>
                  <a:pt x="106" y="423"/>
                  <a:pt x="115" y="414"/>
                  <a:pt x="126" y="414"/>
                </a:cubicBezTo>
                <a:cubicBezTo>
                  <a:pt x="137" y="414"/>
                  <a:pt x="146" y="423"/>
                  <a:pt x="146" y="434"/>
                </a:cubicBezTo>
                <a:cubicBezTo>
                  <a:pt x="146" y="445"/>
                  <a:pt x="137" y="454"/>
                  <a:pt x="126" y="454"/>
                </a:cubicBezTo>
                <a:close/>
                <a:moveTo>
                  <a:pt x="618" y="110"/>
                </a:moveTo>
                <a:cubicBezTo>
                  <a:pt x="610" y="103"/>
                  <a:pt x="597" y="104"/>
                  <a:pt x="590" y="113"/>
                </a:cubicBezTo>
                <a:cubicBezTo>
                  <a:pt x="500" y="225"/>
                  <a:pt x="500" y="225"/>
                  <a:pt x="500" y="225"/>
                </a:cubicBezTo>
                <a:cubicBezTo>
                  <a:pt x="499" y="226"/>
                  <a:pt x="498" y="226"/>
                  <a:pt x="498" y="226"/>
                </a:cubicBezTo>
                <a:cubicBezTo>
                  <a:pt x="498" y="226"/>
                  <a:pt x="497" y="226"/>
                  <a:pt x="496" y="225"/>
                </a:cubicBezTo>
                <a:cubicBezTo>
                  <a:pt x="402" y="115"/>
                  <a:pt x="402" y="115"/>
                  <a:pt x="402" y="115"/>
                </a:cubicBezTo>
                <a:cubicBezTo>
                  <a:pt x="402" y="114"/>
                  <a:pt x="402" y="113"/>
                  <a:pt x="402" y="113"/>
                </a:cubicBezTo>
                <a:cubicBezTo>
                  <a:pt x="402" y="113"/>
                  <a:pt x="402" y="112"/>
                  <a:pt x="403" y="112"/>
                </a:cubicBezTo>
                <a:cubicBezTo>
                  <a:pt x="529" y="40"/>
                  <a:pt x="529" y="40"/>
                  <a:pt x="529" y="40"/>
                </a:cubicBezTo>
                <a:cubicBezTo>
                  <a:pt x="538" y="35"/>
                  <a:pt x="542" y="23"/>
                  <a:pt x="536" y="13"/>
                </a:cubicBezTo>
                <a:cubicBezTo>
                  <a:pt x="531" y="3"/>
                  <a:pt x="519" y="0"/>
                  <a:pt x="509" y="6"/>
                </a:cubicBezTo>
                <a:cubicBezTo>
                  <a:pt x="383" y="77"/>
                  <a:pt x="383" y="77"/>
                  <a:pt x="383" y="77"/>
                </a:cubicBezTo>
                <a:cubicBezTo>
                  <a:pt x="372" y="83"/>
                  <a:pt x="364" y="94"/>
                  <a:pt x="362" y="106"/>
                </a:cubicBezTo>
                <a:cubicBezTo>
                  <a:pt x="360" y="118"/>
                  <a:pt x="364" y="131"/>
                  <a:pt x="372" y="141"/>
                </a:cubicBezTo>
                <a:cubicBezTo>
                  <a:pt x="466" y="251"/>
                  <a:pt x="466" y="251"/>
                  <a:pt x="466" y="251"/>
                </a:cubicBezTo>
                <a:cubicBezTo>
                  <a:pt x="474" y="261"/>
                  <a:pt x="486" y="266"/>
                  <a:pt x="498" y="266"/>
                </a:cubicBezTo>
                <a:cubicBezTo>
                  <a:pt x="499" y="266"/>
                  <a:pt x="499" y="266"/>
                  <a:pt x="499" y="266"/>
                </a:cubicBezTo>
                <a:cubicBezTo>
                  <a:pt x="511" y="266"/>
                  <a:pt x="523" y="260"/>
                  <a:pt x="531" y="250"/>
                </a:cubicBezTo>
                <a:cubicBezTo>
                  <a:pt x="621" y="138"/>
                  <a:pt x="621" y="138"/>
                  <a:pt x="621" y="138"/>
                </a:cubicBezTo>
                <a:cubicBezTo>
                  <a:pt x="628" y="129"/>
                  <a:pt x="627" y="117"/>
                  <a:pt x="618" y="11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endParaRPr lang="de-DE" sz="2299"/>
          </a:p>
        </p:txBody>
      </p:sp>
      <p:sp>
        <p:nvSpPr>
          <p:cNvPr id="21" name="Freeform 98">
            <a:extLst>
              <a:ext uri="{FF2B5EF4-FFF2-40B4-BE49-F238E27FC236}">
                <a16:creationId xmlns:a16="http://schemas.microsoft.com/office/drawing/2014/main" id="{9D8CE520-CFE4-ABA0-3197-86E339344F4E}"/>
              </a:ext>
            </a:extLst>
          </p:cNvPr>
          <p:cNvSpPr>
            <a:spLocks noEditPoints="1"/>
          </p:cNvSpPr>
          <p:nvPr/>
        </p:nvSpPr>
        <p:spPr bwMode="auto">
          <a:xfrm>
            <a:off x="1241595" y="2235787"/>
            <a:ext cx="540068" cy="297533"/>
          </a:xfrm>
          <a:custGeom>
            <a:avLst/>
            <a:gdLst>
              <a:gd name="T0" fmla="*/ 102 w 802"/>
              <a:gd name="T1" fmla="*/ 398 h 493"/>
              <a:gd name="T2" fmla="*/ 156 w 802"/>
              <a:gd name="T3" fmla="*/ 493 h 493"/>
              <a:gd name="T4" fmla="*/ 210 w 802"/>
              <a:gd name="T5" fmla="*/ 398 h 493"/>
              <a:gd name="T6" fmla="*/ 156 w 802"/>
              <a:gd name="T7" fmla="*/ 466 h 493"/>
              <a:gd name="T8" fmla="*/ 125 w 802"/>
              <a:gd name="T9" fmla="*/ 411 h 493"/>
              <a:gd name="T10" fmla="*/ 187 w 802"/>
              <a:gd name="T11" fmla="*/ 411 h 493"/>
              <a:gd name="T12" fmla="*/ 156 w 802"/>
              <a:gd name="T13" fmla="*/ 466 h 493"/>
              <a:gd name="T14" fmla="*/ 533 w 802"/>
              <a:gd name="T15" fmla="*/ 398 h 493"/>
              <a:gd name="T16" fmla="*/ 587 w 802"/>
              <a:gd name="T17" fmla="*/ 493 h 493"/>
              <a:gd name="T18" fmla="*/ 642 w 802"/>
              <a:gd name="T19" fmla="*/ 398 h 493"/>
              <a:gd name="T20" fmla="*/ 587 w 802"/>
              <a:gd name="T21" fmla="*/ 466 h 493"/>
              <a:gd name="T22" fmla="*/ 556 w 802"/>
              <a:gd name="T23" fmla="*/ 411 h 493"/>
              <a:gd name="T24" fmla="*/ 619 w 802"/>
              <a:gd name="T25" fmla="*/ 411 h 493"/>
              <a:gd name="T26" fmla="*/ 587 w 802"/>
              <a:gd name="T27" fmla="*/ 466 h 493"/>
              <a:gd name="T28" fmla="*/ 783 w 802"/>
              <a:gd name="T29" fmla="*/ 28 h 493"/>
              <a:gd name="T30" fmla="*/ 236 w 802"/>
              <a:gd name="T31" fmla="*/ 0 h 493"/>
              <a:gd name="T32" fmla="*/ 207 w 802"/>
              <a:gd name="T33" fmla="*/ 73 h 493"/>
              <a:gd name="T34" fmla="*/ 102 w 802"/>
              <a:gd name="T35" fmla="*/ 88 h 493"/>
              <a:gd name="T36" fmla="*/ 19 w 802"/>
              <a:gd name="T37" fmla="*/ 256 h 493"/>
              <a:gd name="T38" fmla="*/ 0 w 802"/>
              <a:gd name="T39" fmla="*/ 377 h 493"/>
              <a:gd name="T40" fmla="*/ 19 w 802"/>
              <a:gd name="T41" fmla="*/ 398 h 493"/>
              <a:gd name="T42" fmla="*/ 79 w 802"/>
              <a:gd name="T43" fmla="*/ 384 h 493"/>
              <a:gd name="T44" fmla="*/ 233 w 802"/>
              <a:gd name="T45" fmla="*/ 384 h 493"/>
              <a:gd name="T46" fmla="*/ 504 w 802"/>
              <a:gd name="T47" fmla="*/ 398 h 493"/>
              <a:gd name="T48" fmla="*/ 535 w 802"/>
              <a:gd name="T49" fmla="*/ 357 h 493"/>
              <a:gd name="T50" fmla="*/ 245 w 802"/>
              <a:gd name="T51" fmla="*/ 355 h 493"/>
              <a:gd name="T52" fmla="*/ 245 w 802"/>
              <a:gd name="T53" fmla="*/ 73 h 493"/>
              <a:gd name="T54" fmla="*/ 743 w 802"/>
              <a:gd name="T55" fmla="*/ 40 h 493"/>
              <a:gd name="T56" fmla="*/ 640 w 802"/>
              <a:gd name="T57" fmla="*/ 357 h 493"/>
              <a:gd name="T58" fmla="*/ 671 w 802"/>
              <a:gd name="T59" fmla="*/ 398 h 493"/>
              <a:gd name="T60" fmla="*/ 783 w 802"/>
              <a:gd name="T61" fmla="*/ 397 h 493"/>
              <a:gd name="T62" fmla="*/ 783 w 802"/>
              <a:gd name="T63" fmla="*/ 357 h 493"/>
              <a:gd name="T64" fmla="*/ 156 w 802"/>
              <a:gd name="T65" fmla="*/ 313 h 493"/>
              <a:gd name="T66" fmla="*/ 59 w 802"/>
              <a:gd name="T67" fmla="*/ 357 h 493"/>
              <a:gd name="T68" fmla="*/ 66 w 802"/>
              <a:gd name="T69" fmla="*/ 246 h 493"/>
              <a:gd name="T70" fmla="*/ 205 w 802"/>
              <a:gd name="T71" fmla="*/ 324 h 493"/>
              <a:gd name="T72" fmla="*/ 79 w 802"/>
              <a:gd name="T73" fmla="*/ 220 h 493"/>
              <a:gd name="T74" fmla="*/ 205 w 802"/>
              <a:gd name="T75" fmla="*/ 11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02" h="493">
                <a:moveTo>
                  <a:pt x="156" y="366"/>
                </a:moveTo>
                <a:cubicBezTo>
                  <a:pt x="133" y="366"/>
                  <a:pt x="113" y="379"/>
                  <a:pt x="102" y="398"/>
                </a:cubicBezTo>
                <a:cubicBezTo>
                  <a:pt x="96" y="407"/>
                  <a:pt x="93" y="418"/>
                  <a:pt x="93" y="429"/>
                </a:cubicBezTo>
                <a:cubicBezTo>
                  <a:pt x="93" y="464"/>
                  <a:pt x="121" y="493"/>
                  <a:pt x="156" y="493"/>
                </a:cubicBezTo>
                <a:cubicBezTo>
                  <a:pt x="191" y="493"/>
                  <a:pt x="219" y="464"/>
                  <a:pt x="219" y="429"/>
                </a:cubicBezTo>
                <a:cubicBezTo>
                  <a:pt x="219" y="418"/>
                  <a:pt x="216" y="407"/>
                  <a:pt x="210" y="398"/>
                </a:cubicBezTo>
                <a:cubicBezTo>
                  <a:pt x="199" y="379"/>
                  <a:pt x="179" y="366"/>
                  <a:pt x="156" y="366"/>
                </a:cubicBezTo>
                <a:close/>
                <a:moveTo>
                  <a:pt x="156" y="466"/>
                </a:moveTo>
                <a:cubicBezTo>
                  <a:pt x="136" y="466"/>
                  <a:pt x="120" y="450"/>
                  <a:pt x="120" y="429"/>
                </a:cubicBezTo>
                <a:cubicBezTo>
                  <a:pt x="120" y="423"/>
                  <a:pt x="121" y="417"/>
                  <a:pt x="125" y="411"/>
                </a:cubicBezTo>
                <a:cubicBezTo>
                  <a:pt x="132" y="400"/>
                  <a:pt x="143" y="393"/>
                  <a:pt x="156" y="393"/>
                </a:cubicBezTo>
                <a:cubicBezTo>
                  <a:pt x="169" y="393"/>
                  <a:pt x="181" y="400"/>
                  <a:pt x="187" y="411"/>
                </a:cubicBezTo>
                <a:cubicBezTo>
                  <a:pt x="191" y="417"/>
                  <a:pt x="193" y="423"/>
                  <a:pt x="193" y="429"/>
                </a:cubicBezTo>
                <a:cubicBezTo>
                  <a:pt x="193" y="450"/>
                  <a:pt x="176" y="466"/>
                  <a:pt x="156" y="466"/>
                </a:cubicBezTo>
                <a:close/>
                <a:moveTo>
                  <a:pt x="587" y="366"/>
                </a:moveTo>
                <a:cubicBezTo>
                  <a:pt x="564" y="366"/>
                  <a:pt x="544" y="379"/>
                  <a:pt x="533" y="398"/>
                </a:cubicBezTo>
                <a:cubicBezTo>
                  <a:pt x="528" y="407"/>
                  <a:pt x="524" y="418"/>
                  <a:pt x="524" y="429"/>
                </a:cubicBezTo>
                <a:cubicBezTo>
                  <a:pt x="524" y="464"/>
                  <a:pt x="553" y="493"/>
                  <a:pt x="587" y="493"/>
                </a:cubicBezTo>
                <a:cubicBezTo>
                  <a:pt x="622" y="493"/>
                  <a:pt x="651" y="464"/>
                  <a:pt x="651" y="429"/>
                </a:cubicBezTo>
                <a:cubicBezTo>
                  <a:pt x="651" y="418"/>
                  <a:pt x="647" y="407"/>
                  <a:pt x="642" y="398"/>
                </a:cubicBezTo>
                <a:cubicBezTo>
                  <a:pt x="631" y="379"/>
                  <a:pt x="611" y="366"/>
                  <a:pt x="587" y="366"/>
                </a:cubicBezTo>
                <a:close/>
                <a:moveTo>
                  <a:pt x="587" y="466"/>
                </a:moveTo>
                <a:cubicBezTo>
                  <a:pt x="567" y="466"/>
                  <a:pt x="551" y="450"/>
                  <a:pt x="551" y="429"/>
                </a:cubicBezTo>
                <a:cubicBezTo>
                  <a:pt x="551" y="423"/>
                  <a:pt x="553" y="417"/>
                  <a:pt x="556" y="411"/>
                </a:cubicBezTo>
                <a:cubicBezTo>
                  <a:pt x="563" y="400"/>
                  <a:pt x="575" y="393"/>
                  <a:pt x="587" y="393"/>
                </a:cubicBezTo>
                <a:cubicBezTo>
                  <a:pt x="600" y="393"/>
                  <a:pt x="612" y="400"/>
                  <a:pt x="619" y="411"/>
                </a:cubicBezTo>
                <a:cubicBezTo>
                  <a:pt x="622" y="417"/>
                  <a:pt x="624" y="423"/>
                  <a:pt x="624" y="429"/>
                </a:cubicBezTo>
                <a:cubicBezTo>
                  <a:pt x="624" y="450"/>
                  <a:pt x="608" y="466"/>
                  <a:pt x="587" y="466"/>
                </a:cubicBezTo>
                <a:close/>
                <a:moveTo>
                  <a:pt x="783" y="357"/>
                </a:moveTo>
                <a:cubicBezTo>
                  <a:pt x="783" y="28"/>
                  <a:pt x="783" y="28"/>
                  <a:pt x="783" y="28"/>
                </a:cubicBezTo>
                <a:cubicBezTo>
                  <a:pt x="783" y="13"/>
                  <a:pt x="770" y="0"/>
                  <a:pt x="755" y="0"/>
                </a:cubicBezTo>
                <a:cubicBezTo>
                  <a:pt x="236" y="0"/>
                  <a:pt x="236" y="0"/>
                  <a:pt x="236" y="0"/>
                </a:cubicBezTo>
                <a:cubicBezTo>
                  <a:pt x="220" y="0"/>
                  <a:pt x="207" y="13"/>
                  <a:pt x="207" y="28"/>
                </a:cubicBezTo>
                <a:cubicBezTo>
                  <a:pt x="207" y="73"/>
                  <a:pt x="207" y="73"/>
                  <a:pt x="207" y="73"/>
                </a:cubicBezTo>
                <a:cubicBezTo>
                  <a:pt x="126" y="73"/>
                  <a:pt x="126" y="73"/>
                  <a:pt x="126" y="73"/>
                </a:cubicBezTo>
                <a:cubicBezTo>
                  <a:pt x="116" y="73"/>
                  <a:pt x="106" y="79"/>
                  <a:pt x="102" y="88"/>
                </a:cubicBezTo>
                <a:cubicBezTo>
                  <a:pt x="21" y="246"/>
                  <a:pt x="21" y="246"/>
                  <a:pt x="21" y="246"/>
                </a:cubicBezTo>
                <a:cubicBezTo>
                  <a:pt x="20" y="249"/>
                  <a:pt x="19" y="252"/>
                  <a:pt x="19" y="256"/>
                </a:cubicBezTo>
                <a:cubicBezTo>
                  <a:pt x="19" y="357"/>
                  <a:pt x="19" y="357"/>
                  <a:pt x="19" y="357"/>
                </a:cubicBezTo>
                <a:cubicBezTo>
                  <a:pt x="8" y="358"/>
                  <a:pt x="0" y="366"/>
                  <a:pt x="0" y="377"/>
                </a:cubicBezTo>
                <a:cubicBezTo>
                  <a:pt x="0" y="387"/>
                  <a:pt x="8" y="396"/>
                  <a:pt x="19" y="397"/>
                </a:cubicBezTo>
                <a:cubicBezTo>
                  <a:pt x="19" y="398"/>
                  <a:pt x="19" y="398"/>
                  <a:pt x="19" y="398"/>
                </a:cubicBezTo>
                <a:cubicBezTo>
                  <a:pt x="72" y="398"/>
                  <a:pt x="72" y="398"/>
                  <a:pt x="72" y="398"/>
                </a:cubicBezTo>
                <a:cubicBezTo>
                  <a:pt x="74" y="393"/>
                  <a:pt x="76" y="389"/>
                  <a:pt x="79" y="384"/>
                </a:cubicBezTo>
                <a:cubicBezTo>
                  <a:pt x="95" y="357"/>
                  <a:pt x="125" y="340"/>
                  <a:pt x="156" y="340"/>
                </a:cubicBezTo>
                <a:cubicBezTo>
                  <a:pt x="188" y="340"/>
                  <a:pt x="217" y="357"/>
                  <a:pt x="233" y="384"/>
                </a:cubicBezTo>
                <a:cubicBezTo>
                  <a:pt x="236" y="389"/>
                  <a:pt x="238" y="393"/>
                  <a:pt x="240" y="398"/>
                </a:cubicBezTo>
                <a:cubicBezTo>
                  <a:pt x="504" y="398"/>
                  <a:pt x="504" y="398"/>
                  <a:pt x="504" y="398"/>
                </a:cubicBezTo>
                <a:cubicBezTo>
                  <a:pt x="506" y="393"/>
                  <a:pt x="508" y="389"/>
                  <a:pt x="510" y="384"/>
                </a:cubicBezTo>
                <a:cubicBezTo>
                  <a:pt x="517" y="373"/>
                  <a:pt x="525" y="364"/>
                  <a:pt x="535" y="357"/>
                </a:cubicBezTo>
                <a:cubicBezTo>
                  <a:pt x="247" y="357"/>
                  <a:pt x="247" y="357"/>
                  <a:pt x="247" y="357"/>
                </a:cubicBezTo>
                <a:cubicBezTo>
                  <a:pt x="246" y="356"/>
                  <a:pt x="246" y="356"/>
                  <a:pt x="245" y="355"/>
                </a:cubicBezTo>
                <a:cubicBezTo>
                  <a:pt x="245" y="73"/>
                  <a:pt x="245" y="73"/>
                  <a:pt x="245" y="73"/>
                </a:cubicBezTo>
                <a:cubicBezTo>
                  <a:pt x="245" y="73"/>
                  <a:pt x="245" y="73"/>
                  <a:pt x="245" y="73"/>
                </a:cubicBezTo>
                <a:cubicBezTo>
                  <a:pt x="245" y="40"/>
                  <a:pt x="245" y="40"/>
                  <a:pt x="245" y="40"/>
                </a:cubicBezTo>
                <a:cubicBezTo>
                  <a:pt x="743" y="40"/>
                  <a:pt x="743" y="40"/>
                  <a:pt x="743" y="40"/>
                </a:cubicBezTo>
                <a:cubicBezTo>
                  <a:pt x="743" y="357"/>
                  <a:pt x="743" y="357"/>
                  <a:pt x="743" y="357"/>
                </a:cubicBezTo>
                <a:cubicBezTo>
                  <a:pt x="640" y="357"/>
                  <a:pt x="640" y="357"/>
                  <a:pt x="640" y="357"/>
                </a:cubicBezTo>
                <a:cubicBezTo>
                  <a:pt x="650" y="364"/>
                  <a:pt x="658" y="373"/>
                  <a:pt x="665" y="384"/>
                </a:cubicBezTo>
                <a:cubicBezTo>
                  <a:pt x="667" y="389"/>
                  <a:pt x="669" y="393"/>
                  <a:pt x="671" y="398"/>
                </a:cubicBezTo>
                <a:cubicBezTo>
                  <a:pt x="783" y="398"/>
                  <a:pt x="783" y="398"/>
                  <a:pt x="783" y="398"/>
                </a:cubicBezTo>
                <a:cubicBezTo>
                  <a:pt x="783" y="397"/>
                  <a:pt x="783" y="397"/>
                  <a:pt x="783" y="397"/>
                </a:cubicBezTo>
                <a:cubicBezTo>
                  <a:pt x="794" y="396"/>
                  <a:pt x="802" y="387"/>
                  <a:pt x="802" y="377"/>
                </a:cubicBezTo>
                <a:cubicBezTo>
                  <a:pt x="802" y="366"/>
                  <a:pt x="794" y="358"/>
                  <a:pt x="783" y="357"/>
                </a:cubicBezTo>
                <a:close/>
                <a:moveTo>
                  <a:pt x="205" y="324"/>
                </a:moveTo>
                <a:cubicBezTo>
                  <a:pt x="190" y="317"/>
                  <a:pt x="173" y="313"/>
                  <a:pt x="156" y="313"/>
                </a:cubicBezTo>
                <a:cubicBezTo>
                  <a:pt x="121" y="313"/>
                  <a:pt x="88" y="329"/>
                  <a:pt x="66" y="356"/>
                </a:cubicBezTo>
                <a:cubicBezTo>
                  <a:pt x="59" y="357"/>
                  <a:pt x="59" y="357"/>
                  <a:pt x="59" y="357"/>
                </a:cubicBezTo>
                <a:cubicBezTo>
                  <a:pt x="59" y="260"/>
                  <a:pt x="59" y="260"/>
                  <a:pt x="59" y="260"/>
                </a:cubicBezTo>
                <a:cubicBezTo>
                  <a:pt x="66" y="246"/>
                  <a:pt x="66" y="246"/>
                  <a:pt x="66" y="246"/>
                </a:cubicBezTo>
                <a:cubicBezTo>
                  <a:pt x="205" y="246"/>
                  <a:pt x="205" y="246"/>
                  <a:pt x="205" y="246"/>
                </a:cubicBezTo>
                <a:lnTo>
                  <a:pt x="205" y="324"/>
                </a:lnTo>
                <a:close/>
                <a:moveTo>
                  <a:pt x="205" y="220"/>
                </a:moveTo>
                <a:cubicBezTo>
                  <a:pt x="79" y="220"/>
                  <a:pt x="79" y="220"/>
                  <a:pt x="79" y="220"/>
                </a:cubicBezTo>
                <a:cubicBezTo>
                  <a:pt x="134" y="113"/>
                  <a:pt x="134" y="113"/>
                  <a:pt x="134" y="113"/>
                </a:cubicBezTo>
                <a:cubicBezTo>
                  <a:pt x="205" y="113"/>
                  <a:pt x="205" y="113"/>
                  <a:pt x="205" y="113"/>
                </a:cubicBezTo>
                <a:lnTo>
                  <a:pt x="205" y="22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endParaRPr lang="de-DE" sz="2299"/>
          </a:p>
        </p:txBody>
      </p:sp>
      <p:sp>
        <p:nvSpPr>
          <p:cNvPr id="22" name="Textfeld 63">
            <a:extLst>
              <a:ext uri="{FF2B5EF4-FFF2-40B4-BE49-F238E27FC236}">
                <a16:creationId xmlns:a16="http://schemas.microsoft.com/office/drawing/2014/main" id="{82772B1D-375D-30B7-40F6-424C2C4A189D}"/>
              </a:ext>
            </a:extLst>
          </p:cNvPr>
          <p:cNvSpPr txBox="1"/>
          <p:nvPr/>
        </p:nvSpPr>
        <p:spPr>
          <a:xfrm>
            <a:off x="484803" y="3170098"/>
            <a:ext cx="1266891" cy="2769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buClr>
                <a:schemeClr val="tx2"/>
              </a:buClr>
              <a:buSzPct val="100000"/>
              <a:defRPr>
                <a:solidFill>
                  <a:srgbClr val="0478BE"/>
                </a:solidFill>
              </a:defRPr>
            </a:lvl1pPr>
          </a:lstStyle>
          <a:p>
            <a:r>
              <a:rPr lang="en-US" sz="2100" dirty="0"/>
              <a:t>4G/5G Spectrum</a:t>
            </a:r>
          </a:p>
        </p:txBody>
      </p:sp>
      <p:cxnSp>
        <p:nvCxnSpPr>
          <p:cNvPr id="23" name="Gerader Verbinder 10">
            <a:extLst>
              <a:ext uri="{FF2B5EF4-FFF2-40B4-BE49-F238E27FC236}">
                <a16:creationId xmlns:a16="http://schemas.microsoft.com/office/drawing/2014/main" id="{5DCD2EEA-E7CC-1897-DFC6-AFCCD74903D1}"/>
              </a:ext>
            </a:extLst>
          </p:cNvPr>
          <p:cNvCxnSpPr/>
          <p:nvPr/>
        </p:nvCxnSpPr>
        <p:spPr>
          <a:xfrm>
            <a:off x="375468" y="3484638"/>
            <a:ext cx="11475135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: abgerundete Ecken 11">
            <a:extLst>
              <a:ext uri="{FF2B5EF4-FFF2-40B4-BE49-F238E27FC236}">
                <a16:creationId xmlns:a16="http://schemas.microsoft.com/office/drawing/2014/main" id="{A2DACB9C-A029-B62C-5C70-ABB986DD7C1D}"/>
              </a:ext>
            </a:extLst>
          </p:cNvPr>
          <p:cNvSpPr/>
          <p:nvPr/>
        </p:nvSpPr>
        <p:spPr>
          <a:xfrm>
            <a:off x="3949604" y="3484638"/>
            <a:ext cx="3485814" cy="427587"/>
          </a:xfrm>
          <a:prstGeom prst="round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b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API Gateway (Security, Policies, …)</a:t>
            </a:r>
          </a:p>
        </p:txBody>
      </p:sp>
      <p:sp>
        <p:nvSpPr>
          <p:cNvPr id="25" name="Rechteck: abgerundete Ecken 50">
            <a:extLst>
              <a:ext uri="{FF2B5EF4-FFF2-40B4-BE49-F238E27FC236}">
                <a16:creationId xmlns:a16="http://schemas.microsoft.com/office/drawing/2014/main" id="{525F3650-78B5-4E97-2830-0FE98AE7D17B}"/>
              </a:ext>
            </a:extLst>
          </p:cNvPr>
          <p:cNvSpPr/>
          <p:nvPr/>
        </p:nvSpPr>
        <p:spPr>
          <a:xfrm>
            <a:off x="4215964" y="3945285"/>
            <a:ext cx="2904514" cy="665175"/>
          </a:xfrm>
          <a:prstGeom prst="roundRect">
            <a:avLst/>
          </a:prstGeom>
          <a:solidFill>
            <a:srgbClr val="F5EBA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b"/>
          <a:lstStyle/>
          <a:p>
            <a:r>
              <a:rPr lang="de-DE" sz="1400">
                <a:solidFill>
                  <a:schemeClr val="tx1"/>
                </a:solidFill>
              </a:rPr>
              <a:t>Service </a:t>
            </a:r>
            <a:r>
              <a:rPr lang="de-DE" sz="1400" err="1">
                <a:solidFill>
                  <a:schemeClr val="tx1"/>
                </a:solidFill>
              </a:rPr>
              <a:t>Enabling</a:t>
            </a:r>
            <a:r>
              <a:rPr lang="de-DE" sz="1400">
                <a:solidFill>
                  <a:schemeClr val="tx1"/>
                </a:solidFill>
              </a:rPr>
              <a:t> </a:t>
            </a:r>
            <a:r>
              <a:rPr lang="de-DE" sz="1400" err="1">
                <a:solidFill>
                  <a:schemeClr val="tx1"/>
                </a:solidFill>
              </a:rPr>
              <a:t>Function</a:t>
            </a:r>
            <a:r>
              <a:rPr lang="de-DE" sz="1400">
                <a:solidFill>
                  <a:schemeClr val="tx1"/>
                </a:solidFill>
              </a:rPr>
              <a:t>(s)</a:t>
            </a:r>
          </a:p>
        </p:txBody>
      </p:sp>
      <p:sp>
        <p:nvSpPr>
          <p:cNvPr id="26" name="Textfeld 12">
            <a:extLst>
              <a:ext uri="{FF2B5EF4-FFF2-40B4-BE49-F238E27FC236}">
                <a16:creationId xmlns:a16="http://schemas.microsoft.com/office/drawing/2014/main" id="{0973BDAB-0AFB-5C55-EB66-624B0402D2B6}"/>
              </a:ext>
            </a:extLst>
          </p:cNvPr>
          <p:cNvSpPr txBox="1"/>
          <p:nvPr/>
        </p:nvSpPr>
        <p:spPr>
          <a:xfrm>
            <a:off x="486455" y="2876026"/>
            <a:ext cx="1093945" cy="2333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de-DE" sz="2100" dirty="0">
                <a:solidFill>
                  <a:srgbClr val="0478BE"/>
                </a:solidFill>
              </a:rPr>
              <a:t>UE/Devices</a:t>
            </a:r>
          </a:p>
        </p:txBody>
      </p:sp>
      <p:sp>
        <p:nvSpPr>
          <p:cNvPr id="27" name="Textfeld 55">
            <a:extLst>
              <a:ext uri="{FF2B5EF4-FFF2-40B4-BE49-F238E27FC236}">
                <a16:creationId xmlns:a16="http://schemas.microsoft.com/office/drawing/2014/main" id="{94B104CD-180C-C11F-0A20-559F826AD701}"/>
              </a:ext>
            </a:extLst>
          </p:cNvPr>
          <p:cNvSpPr txBox="1"/>
          <p:nvPr/>
        </p:nvSpPr>
        <p:spPr>
          <a:xfrm>
            <a:off x="10256575" y="2860970"/>
            <a:ext cx="1091184" cy="5448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de-DE" sz="2100" dirty="0">
                <a:solidFill>
                  <a:srgbClr val="0478BE"/>
                </a:solidFill>
              </a:rPr>
              <a:t>Server </a:t>
            </a:r>
            <a:br>
              <a:rPr lang="de-DE" sz="2100" dirty="0">
                <a:solidFill>
                  <a:srgbClr val="0478BE"/>
                </a:solidFill>
              </a:rPr>
            </a:br>
            <a:r>
              <a:rPr lang="de-DE" sz="2100" dirty="0" err="1">
                <a:solidFill>
                  <a:srgbClr val="0478BE"/>
                </a:solidFill>
              </a:rPr>
              <a:t>or</a:t>
            </a:r>
            <a:r>
              <a:rPr lang="de-DE" sz="2100" dirty="0">
                <a:solidFill>
                  <a:srgbClr val="0478BE"/>
                </a:solidFill>
              </a:rPr>
              <a:t> Cloud</a:t>
            </a:r>
          </a:p>
        </p:txBody>
      </p:sp>
      <p:sp>
        <p:nvSpPr>
          <p:cNvPr id="28" name="Rechteck 13">
            <a:extLst>
              <a:ext uri="{FF2B5EF4-FFF2-40B4-BE49-F238E27FC236}">
                <a16:creationId xmlns:a16="http://schemas.microsoft.com/office/drawing/2014/main" id="{935C81D2-0256-3B81-CC54-E2EEF97B414D}"/>
              </a:ext>
            </a:extLst>
          </p:cNvPr>
          <p:cNvSpPr/>
          <p:nvPr/>
        </p:nvSpPr>
        <p:spPr>
          <a:xfrm>
            <a:off x="1079808" y="1155995"/>
            <a:ext cx="1568670" cy="689755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Client </a:t>
            </a:r>
            <a:r>
              <a:rPr lang="de-DE" sz="2000" dirty="0" err="1">
                <a:solidFill>
                  <a:schemeClr val="tx1"/>
                </a:solidFill>
              </a:rPr>
              <a:t>Applicatio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9" name="Rechteck 58">
            <a:extLst>
              <a:ext uri="{FF2B5EF4-FFF2-40B4-BE49-F238E27FC236}">
                <a16:creationId xmlns:a16="http://schemas.microsoft.com/office/drawing/2014/main" id="{AF7A2DBA-66D2-4954-D42F-B3AE2CD85FD6}"/>
              </a:ext>
            </a:extLst>
          </p:cNvPr>
          <p:cNvSpPr/>
          <p:nvPr/>
        </p:nvSpPr>
        <p:spPr>
          <a:xfrm>
            <a:off x="9289573" y="1143583"/>
            <a:ext cx="1568670" cy="689755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Business </a:t>
            </a:r>
            <a:r>
              <a:rPr lang="de-DE" sz="2000" dirty="0" err="1">
                <a:solidFill>
                  <a:schemeClr val="tx1"/>
                </a:solidFill>
              </a:rPr>
              <a:t>Applicatio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Pfeil: nach links und rechts 15">
            <a:extLst>
              <a:ext uri="{FF2B5EF4-FFF2-40B4-BE49-F238E27FC236}">
                <a16:creationId xmlns:a16="http://schemas.microsoft.com/office/drawing/2014/main" id="{159B7CBE-8604-BE88-DDEA-BF86C223AE96}"/>
              </a:ext>
            </a:extLst>
          </p:cNvPr>
          <p:cNvSpPr/>
          <p:nvPr/>
        </p:nvSpPr>
        <p:spPr>
          <a:xfrm>
            <a:off x="2766051" y="1464963"/>
            <a:ext cx="6405951" cy="178862"/>
          </a:xfrm>
          <a:prstGeom prst="leftRightArrow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/>
            <a:endParaRPr lang="de-DE" sz="2299"/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EE3CA518-2410-D019-543A-803D98929531}"/>
              </a:ext>
            </a:extLst>
          </p:cNvPr>
          <p:cNvSpPr>
            <a:spLocks noEditPoints="1"/>
          </p:cNvSpPr>
          <p:nvPr/>
        </p:nvSpPr>
        <p:spPr bwMode="auto">
          <a:xfrm>
            <a:off x="10225294" y="2046082"/>
            <a:ext cx="1091184" cy="777585"/>
          </a:xfrm>
          <a:custGeom>
            <a:avLst/>
            <a:gdLst>
              <a:gd name="T0" fmla="*/ 466 w 800"/>
              <a:gd name="T1" fmla="*/ 40 h 534"/>
              <a:gd name="T2" fmla="*/ 650 w 800"/>
              <a:gd name="T3" fmla="*/ 190 h 534"/>
              <a:gd name="T4" fmla="*/ 655 w 800"/>
              <a:gd name="T5" fmla="*/ 215 h 534"/>
              <a:gd name="T6" fmla="*/ 680 w 800"/>
              <a:gd name="T7" fmla="*/ 221 h 534"/>
              <a:gd name="T8" fmla="*/ 760 w 800"/>
              <a:gd name="T9" fmla="*/ 323 h 534"/>
              <a:gd name="T10" fmla="*/ 653 w 800"/>
              <a:gd name="T11" fmla="*/ 429 h 534"/>
              <a:gd name="T12" fmla="*/ 641 w 800"/>
              <a:gd name="T13" fmla="*/ 428 h 534"/>
              <a:gd name="T14" fmla="*/ 622 w 800"/>
              <a:gd name="T15" fmla="*/ 426 h 534"/>
              <a:gd name="T16" fmla="*/ 608 w 800"/>
              <a:gd name="T17" fmla="*/ 440 h 534"/>
              <a:gd name="T18" fmla="*/ 535 w 800"/>
              <a:gd name="T19" fmla="*/ 471 h 534"/>
              <a:gd name="T20" fmla="*/ 491 w 800"/>
              <a:gd name="T21" fmla="*/ 461 h 534"/>
              <a:gd name="T22" fmla="*/ 472 w 800"/>
              <a:gd name="T23" fmla="*/ 452 h 534"/>
              <a:gd name="T24" fmla="*/ 454 w 800"/>
              <a:gd name="T25" fmla="*/ 463 h 534"/>
              <a:gd name="T26" fmla="*/ 341 w 800"/>
              <a:gd name="T27" fmla="*/ 494 h 534"/>
              <a:gd name="T28" fmla="*/ 191 w 800"/>
              <a:gd name="T29" fmla="*/ 436 h 534"/>
              <a:gd name="T30" fmla="*/ 176 w 800"/>
              <a:gd name="T31" fmla="*/ 422 h 534"/>
              <a:gd name="T32" fmla="*/ 156 w 800"/>
              <a:gd name="T33" fmla="*/ 426 h 534"/>
              <a:gd name="T34" fmla="*/ 136 w 800"/>
              <a:gd name="T35" fmla="*/ 428 h 534"/>
              <a:gd name="T36" fmla="*/ 40 w 800"/>
              <a:gd name="T37" fmla="*/ 333 h 534"/>
              <a:gd name="T38" fmla="*/ 117 w 800"/>
              <a:gd name="T39" fmla="*/ 239 h 534"/>
              <a:gd name="T40" fmla="*/ 144 w 800"/>
              <a:gd name="T41" fmla="*/ 233 h 534"/>
              <a:gd name="T42" fmla="*/ 148 w 800"/>
              <a:gd name="T43" fmla="*/ 206 h 534"/>
              <a:gd name="T44" fmla="*/ 237 w 800"/>
              <a:gd name="T45" fmla="*/ 130 h 534"/>
              <a:gd name="T46" fmla="*/ 267 w 800"/>
              <a:gd name="T47" fmla="*/ 135 h 534"/>
              <a:gd name="T48" fmla="*/ 295 w 800"/>
              <a:gd name="T49" fmla="*/ 145 h 534"/>
              <a:gd name="T50" fmla="*/ 312 w 800"/>
              <a:gd name="T51" fmla="*/ 120 h 534"/>
              <a:gd name="T52" fmla="*/ 466 w 800"/>
              <a:gd name="T53" fmla="*/ 40 h 534"/>
              <a:gd name="T54" fmla="*/ 466 w 800"/>
              <a:gd name="T55" fmla="*/ 0 h 534"/>
              <a:gd name="T56" fmla="*/ 280 w 800"/>
              <a:gd name="T57" fmla="*/ 97 h 534"/>
              <a:gd name="T58" fmla="*/ 237 w 800"/>
              <a:gd name="T59" fmla="*/ 90 h 534"/>
              <a:gd name="T60" fmla="*/ 109 w 800"/>
              <a:gd name="T61" fmla="*/ 200 h 534"/>
              <a:gd name="T62" fmla="*/ 0 w 800"/>
              <a:gd name="T63" fmla="*/ 333 h 534"/>
              <a:gd name="T64" fmla="*/ 136 w 800"/>
              <a:gd name="T65" fmla="*/ 468 h 534"/>
              <a:gd name="T66" fmla="*/ 164 w 800"/>
              <a:gd name="T67" fmla="*/ 465 h 534"/>
              <a:gd name="T68" fmla="*/ 341 w 800"/>
              <a:gd name="T69" fmla="*/ 534 h 534"/>
              <a:gd name="T70" fmla="*/ 474 w 800"/>
              <a:gd name="T71" fmla="*/ 497 h 534"/>
              <a:gd name="T72" fmla="*/ 535 w 800"/>
              <a:gd name="T73" fmla="*/ 511 h 534"/>
              <a:gd name="T74" fmla="*/ 637 w 800"/>
              <a:gd name="T75" fmla="*/ 468 h 534"/>
              <a:gd name="T76" fmla="*/ 653 w 800"/>
              <a:gd name="T77" fmla="*/ 469 h 534"/>
              <a:gd name="T78" fmla="*/ 800 w 800"/>
              <a:gd name="T79" fmla="*/ 323 h 534"/>
              <a:gd name="T80" fmla="*/ 690 w 800"/>
              <a:gd name="T81" fmla="*/ 182 h 534"/>
              <a:gd name="T82" fmla="*/ 466 w 800"/>
              <a:gd name="T83" fmla="*/ 0 h 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00" h="534">
                <a:moveTo>
                  <a:pt x="466" y="40"/>
                </a:moveTo>
                <a:cubicBezTo>
                  <a:pt x="556" y="40"/>
                  <a:pt x="633" y="103"/>
                  <a:pt x="650" y="190"/>
                </a:cubicBezTo>
                <a:cubicBezTo>
                  <a:pt x="655" y="215"/>
                  <a:pt x="655" y="215"/>
                  <a:pt x="655" y="215"/>
                </a:cubicBezTo>
                <a:cubicBezTo>
                  <a:pt x="680" y="221"/>
                  <a:pt x="680" y="221"/>
                  <a:pt x="680" y="221"/>
                </a:cubicBezTo>
                <a:cubicBezTo>
                  <a:pt x="727" y="233"/>
                  <a:pt x="760" y="275"/>
                  <a:pt x="760" y="323"/>
                </a:cubicBezTo>
                <a:cubicBezTo>
                  <a:pt x="760" y="382"/>
                  <a:pt x="712" y="429"/>
                  <a:pt x="653" y="429"/>
                </a:cubicBezTo>
                <a:cubicBezTo>
                  <a:pt x="649" y="429"/>
                  <a:pt x="645" y="429"/>
                  <a:pt x="641" y="428"/>
                </a:cubicBezTo>
                <a:cubicBezTo>
                  <a:pt x="622" y="426"/>
                  <a:pt x="622" y="426"/>
                  <a:pt x="622" y="426"/>
                </a:cubicBezTo>
                <a:cubicBezTo>
                  <a:pt x="608" y="440"/>
                  <a:pt x="608" y="440"/>
                  <a:pt x="608" y="440"/>
                </a:cubicBezTo>
                <a:cubicBezTo>
                  <a:pt x="589" y="460"/>
                  <a:pt x="563" y="471"/>
                  <a:pt x="535" y="471"/>
                </a:cubicBezTo>
                <a:cubicBezTo>
                  <a:pt x="519" y="471"/>
                  <a:pt x="505" y="468"/>
                  <a:pt x="491" y="461"/>
                </a:cubicBezTo>
                <a:cubicBezTo>
                  <a:pt x="472" y="452"/>
                  <a:pt x="472" y="452"/>
                  <a:pt x="472" y="452"/>
                </a:cubicBezTo>
                <a:cubicBezTo>
                  <a:pt x="454" y="463"/>
                  <a:pt x="454" y="463"/>
                  <a:pt x="454" y="463"/>
                </a:cubicBezTo>
                <a:cubicBezTo>
                  <a:pt x="420" y="483"/>
                  <a:pt x="381" y="494"/>
                  <a:pt x="341" y="494"/>
                </a:cubicBezTo>
                <a:cubicBezTo>
                  <a:pt x="285" y="494"/>
                  <a:pt x="232" y="473"/>
                  <a:pt x="191" y="436"/>
                </a:cubicBezTo>
                <a:cubicBezTo>
                  <a:pt x="176" y="422"/>
                  <a:pt x="176" y="422"/>
                  <a:pt x="176" y="422"/>
                </a:cubicBezTo>
                <a:cubicBezTo>
                  <a:pt x="156" y="426"/>
                  <a:pt x="156" y="426"/>
                  <a:pt x="156" y="426"/>
                </a:cubicBezTo>
                <a:cubicBezTo>
                  <a:pt x="150" y="428"/>
                  <a:pt x="143" y="428"/>
                  <a:pt x="136" y="428"/>
                </a:cubicBezTo>
                <a:cubicBezTo>
                  <a:pt x="83" y="428"/>
                  <a:pt x="40" y="385"/>
                  <a:pt x="40" y="333"/>
                </a:cubicBezTo>
                <a:cubicBezTo>
                  <a:pt x="40" y="287"/>
                  <a:pt x="72" y="248"/>
                  <a:pt x="117" y="239"/>
                </a:cubicBezTo>
                <a:cubicBezTo>
                  <a:pt x="144" y="233"/>
                  <a:pt x="144" y="233"/>
                  <a:pt x="144" y="233"/>
                </a:cubicBezTo>
                <a:cubicBezTo>
                  <a:pt x="148" y="206"/>
                  <a:pt x="148" y="206"/>
                  <a:pt x="148" y="206"/>
                </a:cubicBezTo>
                <a:cubicBezTo>
                  <a:pt x="155" y="162"/>
                  <a:pt x="193" y="130"/>
                  <a:pt x="237" y="130"/>
                </a:cubicBezTo>
                <a:cubicBezTo>
                  <a:pt x="247" y="130"/>
                  <a:pt x="257" y="131"/>
                  <a:pt x="267" y="135"/>
                </a:cubicBezTo>
                <a:cubicBezTo>
                  <a:pt x="295" y="145"/>
                  <a:pt x="295" y="145"/>
                  <a:pt x="295" y="145"/>
                </a:cubicBezTo>
                <a:cubicBezTo>
                  <a:pt x="312" y="120"/>
                  <a:pt x="312" y="120"/>
                  <a:pt x="312" y="120"/>
                </a:cubicBezTo>
                <a:cubicBezTo>
                  <a:pt x="348" y="70"/>
                  <a:pt x="405" y="40"/>
                  <a:pt x="466" y="40"/>
                </a:cubicBezTo>
                <a:moveTo>
                  <a:pt x="466" y="0"/>
                </a:moveTo>
                <a:cubicBezTo>
                  <a:pt x="391" y="0"/>
                  <a:pt x="322" y="37"/>
                  <a:pt x="280" y="97"/>
                </a:cubicBezTo>
                <a:cubicBezTo>
                  <a:pt x="266" y="92"/>
                  <a:pt x="252" y="90"/>
                  <a:pt x="237" y="90"/>
                </a:cubicBezTo>
                <a:cubicBezTo>
                  <a:pt x="172" y="90"/>
                  <a:pt x="118" y="138"/>
                  <a:pt x="109" y="200"/>
                </a:cubicBezTo>
                <a:cubicBezTo>
                  <a:pt x="47" y="212"/>
                  <a:pt x="0" y="268"/>
                  <a:pt x="0" y="333"/>
                </a:cubicBezTo>
                <a:cubicBezTo>
                  <a:pt x="0" y="407"/>
                  <a:pt x="61" y="468"/>
                  <a:pt x="136" y="468"/>
                </a:cubicBezTo>
                <a:cubicBezTo>
                  <a:pt x="146" y="468"/>
                  <a:pt x="155" y="467"/>
                  <a:pt x="164" y="465"/>
                </a:cubicBezTo>
                <a:cubicBezTo>
                  <a:pt x="213" y="509"/>
                  <a:pt x="275" y="534"/>
                  <a:pt x="341" y="534"/>
                </a:cubicBezTo>
                <a:cubicBezTo>
                  <a:pt x="388" y="534"/>
                  <a:pt x="434" y="521"/>
                  <a:pt x="474" y="497"/>
                </a:cubicBezTo>
                <a:cubicBezTo>
                  <a:pt x="493" y="506"/>
                  <a:pt x="514" y="511"/>
                  <a:pt x="535" y="511"/>
                </a:cubicBezTo>
                <a:cubicBezTo>
                  <a:pt x="574" y="511"/>
                  <a:pt x="610" y="495"/>
                  <a:pt x="637" y="468"/>
                </a:cubicBezTo>
                <a:cubicBezTo>
                  <a:pt x="642" y="469"/>
                  <a:pt x="648" y="469"/>
                  <a:pt x="653" y="469"/>
                </a:cubicBezTo>
                <a:cubicBezTo>
                  <a:pt x="734" y="469"/>
                  <a:pt x="800" y="404"/>
                  <a:pt x="800" y="323"/>
                </a:cubicBezTo>
                <a:cubicBezTo>
                  <a:pt x="800" y="256"/>
                  <a:pt x="754" y="198"/>
                  <a:pt x="690" y="182"/>
                </a:cubicBezTo>
                <a:cubicBezTo>
                  <a:pt x="669" y="77"/>
                  <a:pt x="576" y="0"/>
                  <a:pt x="46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endParaRPr lang="de-DE" sz="2299"/>
          </a:p>
        </p:txBody>
      </p:sp>
      <p:grpSp>
        <p:nvGrpSpPr>
          <p:cNvPr id="32" name="Gruppieren 74">
            <a:extLst>
              <a:ext uri="{FF2B5EF4-FFF2-40B4-BE49-F238E27FC236}">
                <a16:creationId xmlns:a16="http://schemas.microsoft.com/office/drawing/2014/main" id="{F8312FA3-3DE3-4BD8-AA56-C54A69FF9462}"/>
              </a:ext>
            </a:extLst>
          </p:cNvPr>
          <p:cNvGrpSpPr/>
          <p:nvPr/>
        </p:nvGrpSpPr>
        <p:grpSpPr>
          <a:xfrm>
            <a:off x="1889664" y="1654568"/>
            <a:ext cx="8207259" cy="3974221"/>
            <a:chOff x="1889019" y="1833101"/>
            <a:chExt cx="8208515" cy="3974822"/>
          </a:xfrm>
        </p:grpSpPr>
        <p:cxnSp>
          <p:nvCxnSpPr>
            <p:cNvPr id="33" name="Gerader Verbinder 66">
              <a:extLst>
                <a:ext uri="{FF2B5EF4-FFF2-40B4-BE49-F238E27FC236}">
                  <a16:creationId xmlns:a16="http://schemas.microsoft.com/office/drawing/2014/main" id="{1D6D3632-D04D-008B-4B1A-44E5CBE4BB16}"/>
                </a:ext>
              </a:extLst>
            </p:cNvPr>
            <p:cNvCxnSpPr>
              <a:cxnSpLocks/>
              <a:stCxn id="29" idx="2"/>
            </p:cNvCxnSpPr>
            <p:nvPr/>
          </p:nvCxnSpPr>
          <p:spPr>
            <a:xfrm>
              <a:off x="10074516" y="1833101"/>
              <a:ext cx="23018" cy="3796015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67">
              <a:extLst>
                <a:ext uri="{FF2B5EF4-FFF2-40B4-BE49-F238E27FC236}">
                  <a16:creationId xmlns:a16="http://schemas.microsoft.com/office/drawing/2014/main" id="{C4B9F0B1-FA5E-C904-510A-2275C8245717}"/>
                </a:ext>
              </a:extLst>
            </p:cNvPr>
            <p:cNvCxnSpPr>
              <a:cxnSpLocks/>
            </p:cNvCxnSpPr>
            <p:nvPr/>
          </p:nvCxnSpPr>
          <p:spPr>
            <a:xfrm>
              <a:off x="1889019" y="2016673"/>
              <a:ext cx="17597" cy="3766421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68">
              <a:extLst>
                <a:ext uri="{FF2B5EF4-FFF2-40B4-BE49-F238E27FC236}">
                  <a16:creationId xmlns:a16="http://schemas.microsoft.com/office/drawing/2014/main" id="{F4BD8017-DC49-401E-E3F5-B1D8C0CD0EB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906617" y="5790385"/>
              <a:ext cx="8182424" cy="17538"/>
            </a:xfrm>
            <a:prstGeom prst="line">
              <a:avLst/>
            </a:prstGeom>
            <a:ln w="38100">
              <a:solidFill>
                <a:schemeClr val="accent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hteck 75">
            <a:extLst>
              <a:ext uri="{FF2B5EF4-FFF2-40B4-BE49-F238E27FC236}">
                <a16:creationId xmlns:a16="http://schemas.microsoft.com/office/drawing/2014/main" id="{D2764939-D7E9-7B67-0E81-933EE6204EB1}"/>
              </a:ext>
            </a:extLst>
          </p:cNvPr>
          <p:cNvSpPr/>
          <p:nvPr/>
        </p:nvSpPr>
        <p:spPr>
          <a:xfrm>
            <a:off x="4725286" y="4830497"/>
            <a:ext cx="1889725" cy="589558"/>
          </a:xfrm>
          <a:prstGeom prst="rect">
            <a:avLst/>
          </a:prstGeom>
          <a:solidFill>
            <a:srgbClr val="D9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/>
            <a:r>
              <a:rPr lang="de-DE" sz="1000" dirty="0">
                <a:solidFill>
                  <a:srgbClr val="FFFFFF"/>
                </a:solidFill>
              </a:rPr>
              <a:t>Service </a:t>
            </a:r>
            <a:r>
              <a:rPr lang="de-DE" sz="1000" dirty="0" err="1">
                <a:solidFill>
                  <a:srgbClr val="FFFFFF"/>
                </a:solidFill>
              </a:rPr>
              <a:t>Enabling</a:t>
            </a:r>
            <a:r>
              <a:rPr lang="de-DE" sz="1000" dirty="0">
                <a:solidFill>
                  <a:srgbClr val="FFFFFF"/>
                </a:solidFill>
              </a:rPr>
              <a:t> </a:t>
            </a:r>
            <a:r>
              <a:rPr lang="de-DE" sz="1000" dirty="0" err="1">
                <a:solidFill>
                  <a:srgbClr val="FFFFFF"/>
                </a:solidFill>
              </a:rPr>
              <a:t>Function</a:t>
            </a:r>
            <a:r>
              <a:rPr lang="de-DE" sz="1000" dirty="0">
                <a:solidFill>
                  <a:srgbClr val="FFFFFF"/>
                </a:solidFill>
              </a:rPr>
              <a:t> (4G) / </a:t>
            </a:r>
            <a:br>
              <a:rPr lang="de-DE" sz="1000" dirty="0">
                <a:solidFill>
                  <a:srgbClr val="FFFFFF"/>
                </a:solidFill>
              </a:rPr>
            </a:br>
            <a:r>
              <a:rPr lang="de-DE" sz="1000" dirty="0">
                <a:solidFill>
                  <a:srgbClr val="FFFFFF"/>
                </a:solidFill>
              </a:rPr>
              <a:t>Network </a:t>
            </a:r>
            <a:r>
              <a:rPr lang="de-DE" sz="1000" dirty="0" err="1">
                <a:solidFill>
                  <a:srgbClr val="FFFFFF"/>
                </a:solidFill>
              </a:rPr>
              <a:t>Exposure</a:t>
            </a:r>
            <a:r>
              <a:rPr lang="de-DE" sz="1000" dirty="0">
                <a:solidFill>
                  <a:srgbClr val="FFFFFF"/>
                </a:solidFill>
              </a:rPr>
              <a:t> </a:t>
            </a:r>
            <a:r>
              <a:rPr lang="de-DE" sz="1000" dirty="0" err="1">
                <a:solidFill>
                  <a:srgbClr val="FFFFFF"/>
                </a:solidFill>
              </a:rPr>
              <a:t>Function</a:t>
            </a:r>
            <a:r>
              <a:rPr lang="de-DE" sz="1000" dirty="0">
                <a:solidFill>
                  <a:srgbClr val="FFFFFF"/>
                </a:solidFill>
              </a:rPr>
              <a:t> (5G) (SCEF/NEF)</a:t>
            </a:r>
          </a:p>
        </p:txBody>
      </p:sp>
      <p:grpSp>
        <p:nvGrpSpPr>
          <p:cNvPr id="37" name="Gruppieren 100">
            <a:extLst>
              <a:ext uri="{FF2B5EF4-FFF2-40B4-BE49-F238E27FC236}">
                <a16:creationId xmlns:a16="http://schemas.microsoft.com/office/drawing/2014/main" id="{080AE660-0CCB-23AF-10D7-60F48C4DCE91}"/>
              </a:ext>
            </a:extLst>
          </p:cNvPr>
          <p:cNvGrpSpPr/>
          <p:nvPr/>
        </p:nvGrpSpPr>
        <p:grpSpPr>
          <a:xfrm>
            <a:off x="1532396" y="3526572"/>
            <a:ext cx="726964" cy="619035"/>
            <a:chOff x="8158174" y="3779859"/>
            <a:chExt cx="727076" cy="619129"/>
          </a:xfrm>
          <a:solidFill>
            <a:schemeClr val="tx1"/>
          </a:solidFill>
        </p:grpSpPr>
        <p:sp>
          <p:nvSpPr>
            <p:cNvPr id="38" name="Freeform 90">
              <a:extLst>
                <a:ext uri="{FF2B5EF4-FFF2-40B4-BE49-F238E27FC236}">
                  <a16:creationId xmlns:a16="http://schemas.microsoft.com/office/drawing/2014/main" id="{27C87B0F-40A3-0FA2-B528-1AFB9E4A4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9937" y="3887810"/>
              <a:ext cx="117475" cy="311152"/>
            </a:xfrm>
            <a:custGeom>
              <a:avLst/>
              <a:gdLst>
                <a:gd name="T0" fmla="*/ 114 w 122"/>
                <a:gd name="T1" fmla="*/ 8 h 325"/>
                <a:gd name="T2" fmla="*/ 86 w 122"/>
                <a:gd name="T3" fmla="*/ 8 h 325"/>
                <a:gd name="T4" fmla="*/ 86 w 122"/>
                <a:gd name="T5" fmla="*/ 319 h 325"/>
                <a:gd name="T6" fmla="*/ 100 w 122"/>
                <a:gd name="T7" fmla="*/ 325 h 325"/>
                <a:gd name="T8" fmla="*/ 114 w 122"/>
                <a:gd name="T9" fmla="*/ 319 h 325"/>
                <a:gd name="T10" fmla="*/ 114 w 122"/>
                <a:gd name="T11" fmla="*/ 291 h 325"/>
                <a:gd name="T12" fmla="*/ 114 w 122"/>
                <a:gd name="T13" fmla="*/ 37 h 325"/>
                <a:gd name="T14" fmla="*/ 114 w 122"/>
                <a:gd name="T15" fmla="*/ 8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325">
                  <a:moveTo>
                    <a:pt x="114" y="8"/>
                  </a:moveTo>
                  <a:cubicBezTo>
                    <a:pt x="107" y="0"/>
                    <a:pt x="94" y="0"/>
                    <a:pt x="86" y="8"/>
                  </a:cubicBezTo>
                  <a:cubicBezTo>
                    <a:pt x="0" y="94"/>
                    <a:pt x="0" y="234"/>
                    <a:pt x="86" y="319"/>
                  </a:cubicBezTo>
                  <a:cubicBezTo>
                    <a:pt x="90" y="323"/>
                    <a:pt x="95" y="325"/>
                    <a:pt x="100" y="325"/>
                  </a:cubicBezTo>
                  <a:cubicBezTo>
                    <a:pt x="105" y="325"/>
                    <a:pt x="110" y="323"/>
                    <a:pt x="114" y="319"/>
                  </a:cubicBezTo>
                  <a:cubicBezTo>
                    <a:pt x="122" y="312"/>
                    <a:pt x="122" y="299"/>
                    <a:pt x="114" y="291"/>
                  </a:cubicBezTo>
                  <a:cubicBezTo>
                    <a:pt x="44" y="221"/>
                    <a:pt x="44" y="107"/>
                    <a:pt x="114" y="37"/>
                  </a:cubicBezTo>
                  <a:cubicBezTo>
                    <a:pt x="122" y="29"/>
                    <a:pt x="122" y="16"/>
                    <a:pt x="11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endParaRPr lang="de-DE" sz="2299"/>
            </a:p>
          </p:txBody>
        </p:sp>
        <p:sp>
          <p:nvSpPr>
            <p:cNvPr id="39" name="Freeform 91">
              <a:extLst>
                <a:ext uri="{FF2B5EF4-FFF2-40B4-BE49-F238E27FC236}">
                  <a16:creationId xmlns:a16="http://schemas.microsoft.com/office/drawing/2014/main" id="{70E1BDDE-15B8-C3E1-582C-9BA7B231CE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12" y="3887810"/>
              <a:ext cx="96838" cy="311152"/>
            </a:xfrm>
            <a:custGeom>
              <a:avLst/>
              <a:gdLst>
                <a:gd name="T0" fmla="*/ 8 w 101"/>
                <a:gd name="T1" fmla="*/ 8 h 325"/>
                <a:gd name="T2" fmla="*/ 8 w 101"/>
                <a:gd name="T3" fmla="*/ 37 h 325"/>
                <a:gd name="T4" fmla="*/ 61 w 101"/>
                <a:gd name="T5" fmla="*/ 164 h 325"/>
                <a:gd name="T6" fmla="*/ 8 w 101"/>
                <a:gd name="T7" fmla="*/ 291 h 325"/>
                <a:gd name="T8" fmla="*/ 8 w 101"/>
                <a:gd name="T9" fmla="*/ 319 h 325"/>
                <a:gd name="T10" fmla="*/ 22 w 101"/>
                <a:gd name="T11" fmla="*/ 325 h 325"/>
                <a:gd name="T12" fmla="*/ 36 w 101"/>
                <a:gd name="T13" fmla="*/ 319 h 325"/>
                <a:gd name="T14" fmla="*/ 101 w 101"/>
                <a:gd name="T15" fmla="*/ 164 h 325"/>
                <a:gd name="T16" fmla="*/ 36 w 101"/>
                <a:gd name="T17" fmla="*/ 8 h 325"/>
                <a:gd name="T18" fmla="*/ 8 w 101"/>
                <a:gd name="T19" fmla="*/ 8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325">
                  <a:moveTo>
                    <a:pt x="8" y="8"/>
                  </a:moveTo>
                  <a:cubicBezTo>
                    <a:pt x="0" y="16"/>
                    <a:pt x="0" y="29"/>
                    <a:pt x="8" y="37"/>
                  </a:cubicBezTo>
                  <a:cubicBezTo>
                    <a:pt x="42" y="71"/>
                    <a:pt x="61" y="116"/>
                    <a:pt x="61" y="164"/>
                  </a:cubicBezTo>
                  <a:cubicBezTo>
                    <a:pt x="61" y="212"/>
                    <a:pt x="42" y="257"/>
                    <a:pt x="8" y="291"/>
                  </a:cubicBezTo>
                  <a:cubicBezTo>
                    <a:pt x="0" y="299"/>
                    <a:pt x="0" y="312"/>
                    <a:pt x="8" y="319"/>
                  </a:cubicBezTo>
                  <a:cubicBezTo>
                    <a:pt x="12" y="323"/>
                    <a:pt x="17" y="325"/>
                    <a:pt x="22" y="325"/>
                  </a:cubicBezTo>
                  <a:cubicBezTo>
                    <a:pt x="27" y="325"/>
                    <a:pt x="32" y="323"/>
                    <a:pt x="36" y="319"/>
                  </a:cubicBezTo>
                  <a:cubicBezTo>
                    <a:pt x="78" y="278"/>
                    <a:pt x="101" y="223"/>
                    <a:pt x="101" y="164"/>
                  </a:cubicBezTo>
                  <a:cubicBezTo>
                    <a:pt x="101" y="105"/>
                    <a:pt x="78" y="50"/>
                    <a:pt x="36" y="8"/>
                  </a:cubicBezTo>
                  <a:cubicBezTo>
                    <a:pt x="28" y="0"/>
                    <a:pt x="16" y="0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endParaRPr lang="de-DE" sz="2299"/>
            </a:p>
          </p:txBody>
        </p:sp>
        <p:sp>
          <p:nvSpPr>
            <p:cNvPr id="40" name="Freeform 92">
              <a:extLst>
                <a:ext uri="{FF2B5EF4-FFF2-40B4-BE49-F238E27FC236}">
                  <a16:creationId xmlns:a16="http://schemas.microsoft.com/office/drawing/2014/main" id="{144C6E96-4276-E4FE-9FB4-06324D589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12" y="3967185"/>
              <a:ext cx="152400" cy="431803"/>
            </a:xfrm>
            <a:custGeom>
              <a:avLst/>
              <a:gdLst>
                <a:gd name="T0" fmla="*/ 80 w 160"/>
                <a:gd name="T1" fmla="*/ 0 h 451"/>
                <a:gd name="T2" fmla="*/ 0 w 160"/>
                <a:gd name="T3" fmla="*/ 80 h 451"/>
                <a:gd name="T4" fmla="*/ 60 w 160"/>
                <a:gd name="T5" fmla="*/ 157 h 451"/>
                <a:gd name="T6" fmla="*/ 60 w 160"/>
                <a:gd name="T7" fmla="*/ 451 h 451"/>
                <a:gd name="T8" fmla="*/ 100 w 160"/>
                <a:gd name="T9" fmla="*/ 451 h 451"/>
                <a:gd name="T10" fmla="*/ 100 w 160"/>
                <a:gd name="T11" fmla="*/ 157 h 451"/>
                <a:gd name="T12" fmla="*/ 160 w 160"/>
                <a:gd name="T13" fmla="*/ 80 h 451"/>
                <a:gd name="T14" fmla="*/ 80 w 160"/>
                <a:gd name="T15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451">
                  <a:moveTo>
                    <a:pt x="80" y="0"/>
                  </a:moveTo>
                  <a:cubicBezTo>
                    <a:pt x="35" y="0"/>
                    <a:pt x="0" y="36"/>
                    <a:pt x="0" y="80"/>
                  </a:cubicBezTo>
                  <a:cubicBezTo>
                    <a:pt x="0" y="117"/>
                    <a:pt x="25" y="148"/>
                    <a:pt x="60" y="157"/>
                  </a:cubicBezTo>
                  <a:cubicBezTo>
                    <a:pt x="60" y="451"/>
                    <a:pt x="60" y="451"/>
                    <a:pt x="60" y="451"/>
                  </a:cubicBezTo>
                  <a:cubicBezTo>
                    <a:pt x="100" y="451"/>
                    <a:pt x="100" y="451"/>
                    <a:pt x="100" y="451"/>
                  </a:cubicBezTo>
                  <a:cubicBezTo>
                    <a:pt x="100" y="157"/>
                    <a:pt x="100" y="157"/>
                    <a:pt x="100" y="157"/>
                  </a:cubicBezTo>
                  <a:cubicBezTo>
                    <a:pt x="134" y="148"/>
                    <a:pt x="160" y="117"/>
                    <a:pt x="160" y="80"/>
                  </a:cubicBezTo>
                  <a:cubicBezTo>
                    <a:pt x="160" y="36"/>
                    <a:pt x="124" y="0"/>
                    <a:pt x="8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endParaRPr lang="de-DE" sz="2299"/>
            </a:p>
          </p:txBody>
        </p:sp>
        <p:sp>
          <p:nvSpPr>
            <p:cNvPr id="41" name="Freeform 93">
              <a:extLst>
                <a:ext uri="{FF2B5EF4-FFF2-40B4-BE49-F238E27FC236}">
                  <a16:creationId xmlns:a16="http://schemas.microsoft.com/office/drawing/2014/main" id="{9209C3B7-2475-24BF-25CF-1FE052639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174" y="3779859"/>
              <a:ext cx="141288" cy="527053"/>
            </a:xfrm>
            <a:custGeom>
              <a:avLst/>
              <a:gdLst>
                <a:gd name="T0" fmla="*/ 139 w 147"/>
                <a:gd name="T1" fmla="*/ 8 h 551"/>
                <a:gd name="T2" fmla="*/ 111 w 147"/>
                <a:gd name="T3" fmla="*/ 8 h 551"/>
                <a:gd name="T4" fmla="*/ 0 w 147"/>
                <a:gd name="T5" fmla="*/ 277 h 551"/>
                <a:gd name="T6" fmla="*/ 111 w 147"/>
                <a:gd name="T7" fmla="*/ 545 h 551"/>
                <a:gd name="T8" fmla="*/ 125 w 147"/>
                <a:gd name="T9" fmla="*/ 551 h 551"/>
                <a:gd name="T10" fmla="*/ 139 w 147"/>
                <a:gd name="T11" fmla="*/ 545 h 551"/>
                <a:gd name="T12" fmla="*/ 139 w 147"/>
                <a:gd name="T13" fmla="*/ 517 h 551"/>
                <a:gd name="T14" fmla="*/ 40 w 147"/>
                <a:gd name="T15" fmla="*/ 277 h 551"/>
                <a:gd name="T16" fmla="*/ 139 w 147"/>
                <a:gd name="T17" fmla="*/ 36 h 551"/>
                <a:gd name="T18" fmla="*/ 139 w 147"/>
                <a:gd name="T19" fmla="*/ 8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551">
                  <a:moveTo>
                    <a:pt x="139" y="8"/>
                  </a:moveTo>
                  <a:cubicBezTo>
                    <a:pt x="131" y="0"/>
                    <a:pt x="119" y="0"/>
                    <a:pt x="111" y="8"/>
                  </a:cubicBezTo>
                  <a:cubicBezTo>
                    <a:pt x="39" y="80"/>
                    <a:pt x="0" y="175"/>
                    <a:pt x="0" y="277"/>
                  </a:cubicBezTo>
                  <a:cubicBezTo>
                    <a:pt x="0" y="378"/>
                    <a:pt x="39" y="474"/>
                    <a:pt x="111" y="545"/>
                  </a:cubicBezTo>
                  <a:cubicBezTo>
                    <a:pt x="115" y="549"/>
                    <a:pt x="120" y="551"/>
                    <a:pt x="125" y="551"/>
                  </a:cubicBezTo>
                  <a:cubicBezTo>
                    <a:pt x="130" y="551"/>
                    <a:pt x="135" y="549"/>
                    <a:pt x="139" y="545"/>
                  </a:cubicBezTo>
                  <a:cubicBezTo>
                    <a:pt x="147" y="538"/>
                    <a:pt x="147" y="525"/>
                    <a:pt x="139" y="517"/>
                  </a:cubicBezTo>
                  <a:cubicBezTo>
                    <a:pt x="75" y="453"/>
                    <a:pt x="40" y="368"/>
                    <a:pt x="40" y="277"/>
                  </a:cubicBezTo>
                  <a:cubicBezTo>
                    <a:pt x="40" y="186"/>
                    <a:pt x="75" y="101"/>
                    <a:pt x="139" y="36"/>
                  </a:cubicBezTo>
                  <a:cubicBezTo>
                    <a:pt x="147" y="29"/>
                    <a:pt x="147" y="16"/>
                    <a:pt x="13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endParaRPr lang="de-DE" sz="2299"/>
            </a:p>
          </p:txBody>
        </p:sp>
        <p:sp>
          <p:nvSpPr>
            <p:cNvPr id="42" name="Freeform 94">
              <a:extLst>
                <a:ext uri="{FF2B5EF4-FFF2-40B4-BE49-F238E27FC236}">
                  <a16:creationId xmlns:a16="http://schemas.microsoft.com/office/drawing/2014/main" id="{D117BDA1-9CD3-AE47-25AD-01E4B0EAD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3962" y="3779859"/>
              <a:ext cx="141288" cy="527053"/>
            </a:xfrm>
            <a:custGeom>
              <a:avLst/>
              <a:gdLst>
                <a:gd name="T0" fmla="*/ 36 w 148"/>
                <a:gd name="T1" fmla="*/ 8 h 551"/>
                <a:gd name="T2" fmla="*/ 8 w 148"/>
                <a:gd name="T3" fmla="*/ 8 h 551"/>
                <a:gd name="T4" fmla="*/ 8 w 148"/>
                <a:gd name="T5" fmla="*/ 36 h 551"/>
                <a:gd name="T6" fmla="*/ 8 w 148"/>
                <a:gd name="T7" fmla="*/ 517 h 551"/>
                <a:gd name="T8" fmla="*/ 8 w 148"/>
                <a:gd name="T9" fmla="*/ 545 h 551"/>
                <a:gd name="T10" fmla="*/ 22 w 148"/>
                <a:gd name="T11" fmla="*/ 551 h 551"/>
                <a:gd name="T12" fmla="*/ 36 w 148"/>
                <a:gd name="T13" fmla="*/ 545 h 551"/>
                <a:gd name="T14" fmla="*/ 148 w 148"/>
                <a:gd name="T15" fmla="*/ 277 h 551"/>
                <a:gd name="T16" fmla="*/ 36 w 148"/>
                <a:gd name="T17" fmla="*/ 8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551">
                  <a:moveTo>
                    <a:pt x="36" y="8"/>
                  </a:moveTo>
                  <a:cubicBezTo>
                    <a:pt x="29" y="0"/>
                    <a:pt x="16" y="0"/>
                    <a:pt x="8" y="8"/>
                  </a:cubicBezTo>
                  <a:cubicBezTo>
                    <a:pt x="0" y="16"/>
                    <a:pt x="0" y="29"/>
                    <a:pt x="8" y="36"/>
                  </a:cubicBezTo>
                  <a:cubicBezTo>
                    <a:pt x="141" y="169"/>
                    <a:pt x="141" y="385"/>
                    <a:pt x="8" y="517"/>
                  </a:cubicBezTo>
                  <a:cubicBezTo>
                    <a:pt x="0" y="525"/>
                    <a:pt x="0" y="538"/>
                    <a:pt x="8" y="545"/>
                  </a:cubicBezTo>
                  <a:cubicBezTo>
                    <a:pt x="12" y="549"/>
                    <a:pt x="17" y="551"/>
                    <a:pt x="22" y="551"/>
                  </a:cubicBezTo>
                  <a:cubicBezTo>
                    <a:pt x="27" y="551"/>
                    <a:pt x="32" y="549"/>
                    <a:pt x="36" y="545"/>
                  </a:cubicBezTo>
                  <a:cubicBezTo>
                    <a:pt x="108" y="474"/>
                    <a:pt x="148" y="378"/>
                    <a:pt x="148" y="277"/>
                  </a:cubicBezTo>
                  <a:cubicBezTo>
                    <a:pt x="148" y="175"/>
                    <a:pt x="108" y="80"/>
                    <a:pt x="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endParaRPr lang="de-DE" sz="2299"/>
            </a:p>
          </p:txBody>
        </p:sp>
      </p:grpSp>
      <p:grpSp>
        <p:nvGrpSpPr>
          <p:cNvPr id="43" name="Gruppieren 79">
            <a:extLst>
              <a:ext uri="{FF2B5EF4-FFF2-40B4-BE49-F238E27FC236}">
                <a16:creationId xmlns:a16="http://schemas.microsoft.com/office/drawing/2014/main" id="{A5FBE1E4-2180-50CA-9A15-E81AD12E090C}"/>
              </a:ext>
            </a:extLst>
          </p:cNvPr>
          <p:cNvGrpSpPr/>
          <p:nvPr/>
        </p:nvGrpSpPr>
        <p:grpSpPr>
          <a:xfrm>
            <a:off x="5048411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44" name="Ellipse 76">
              <a:extLst>
                <a:ext uri="{FF2B5EF4-FFF2-40B4-BE49-F238E27FC236}">
                  <a16:creationId xmlns:a16="http://schemas.microsoft.com/office/drawing/2014/main" id="{FE45C484-C9C6-1905-6BD7-B94E4F881232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45" name="Gerader Verbinder 78">
              <a:extLst>
                <a:ext uri="{FF2B5EF4-FFF2-40B4-BE49-F238E27FC236}">
                  <a16:creationId xmlns:a16="http://schemas.microsoft.com/office/drawing/2014/main" id="{9198654F-7B20-9799-F8B1-4F2100CB6138}"/>
                </a:ext>
              </a:extLst>
            </p:cNvPr>
            <p:cNvCxnSpPr>
              <a:stCxn id="44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80">
            <a:extLst>
              <a:ext uri="{FF2B5EF4-FFF2-40B4-BE49-F238E27FC236}">
                <a16:creationId xmlns:a16="http://schemas.microsoft.com/office/drawing/2014/main" id="{F8F24B4E-520D-6C84-2DCB-C552D98F3385}"/>
              </a:ext>
            </a:extLst>
          </p:cNvPr>
          <p:cNvGrpSpPr/>
          <p:nvPr/>
        </p:nvGrpSpPr>
        <p:grpSpPr>
          <a:xfrm>
            <a:off x="5209391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47" name="Ellipse 81">
              <a:extLst>
                <a:ext uri="{FF2B5EF4-FFF2-40B4-BE49-F238E27FC236}">
                  <a16:creationId xmlns:a16="http://schemas.microsoft.com/office/drawing/2014/main" id="{98CFF157-871A-C1F6-5F5B-B54151B883BD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48" name="Gerader Verbinder 82">
              <a:extLst>
                <a:ext uri="{FF2B5EF4-FFF2-40B4-BE49-F238E27FC236}">
                  <a16:creationId xmlns:a16="http://schemas.microsoft.com/office/drawing/2014/main" id="{F4F06AFC-BF92-6005-E15A-85306835CB83}"/>
                </a:ext>
              </a:extLst>
            </p:cNvPr>
            <p:cNvCxnSpPr>
              <a:stCxn id="47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83">
            <a:extLst>
              <a:ext uri="{FF2B5EF4-FFF2-40B4-BE49-F238E27FC236}">
                <a16:creationId xmlns:a16="http://schemas.microsoft.com/office/drawing/2014/main" id="{3616139E-F849-D78C-2D61-2A9FC86281C7}"/>
              </a:ext>
            </a:extLst>
          </p:cNvPr>
          <p:cNvGrpSpPr/>
          <p:nvPr/>
        </p:nvGrpSpPr>
        <p:grpSpPr>
          <a:xfrm>
            <a:off x="5370372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50" name="Ellipse 84">
              <a:extLst>
                <a:ext uri="{FF2B5EF4-FFF2-40B4-BE49-F238E27FC236}">
                  <a16:creationId xmlns:a16="http://schemas.microsoft.com/office/drawing/2014/main" id="{BF5988ED-E817-1271-B929-2C606F14203A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51" name="Gerader Verbinder 85">
              <a:extLst>
                <a:ext uri="{FF2B5EF4-FFF2-40B4-BE49-F238E27FC236}">
                  <a16:creationId xmlns:a16="http://schemas.microsoft.com/office/drawing/2014/main" id="{F2DB64AF-5B3C-01D6-0205-2E5E5323967E}"/>
                </a:ext>
              </a:extLst>
            </p:cNvPr>
            <p:cNvCxnSpPr>
              <a:stCxn id="50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uppieren 86">
            <a:extLst>
              <a:ext uri="{FF2B5EF4-FFF2-40B4-BE49-F238E27FC236}">
                <a16:creationId xmlns:a16="http://schemas.microsoft.com/office/drawing/2014/main" id="{CA790C14-B440-8FE9-AAD3-B3187192F1D0}"/>
              </a:ext>
            </a:extLst>
          </p:cNvPr>
          <p:cNvGrpSpPr/>
          <p:nvPr/>
        </p:nvGrpSpPr>
        <p:grpSpPr>
          <a:xfrm>
            <a:off x="5531352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53" name="Ellipse 87">
              <a:extLst>
                <a:ext uri="{FF2B5EF4-FFF2-40B4-BE49-F238E27FC236}">
                  <a16:creationId xmlns:a16="http://schemas.microsoft.com/office/drawing/2014/main" id="{CBA06CB2-1FEC-5ED8-B0EA-BF2E48261ECB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54" name="Gerader Verbinder 88">
              <a:extLst>
                <a:ext uri="{FF2B5EF4-FFF2-40B4-BE49-F238E27FC236}">
                  <a16:creationId xmlns:a16="http://schemas.microsoft.com/office/drawing/2014/main" id="{BB6D2A61-6D29-52BE-9EFA-909B151FC5A2}"/>
                </a:ext>
              </a:extLst>
            </p:cNvPr>
            <p:cNvCxnSpPr>
              <a:stCxn id="53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uppieren 89">
            <a:extLst>
              <a:ext uri="{FF2B5EF4-FFF2-40B4-BE49-F238E27FC236}">
                <a16:creationId xmlns:a16="http://schemas.microsoft.com/office/drawing/2014/main" id="{8039A306-2885-4280-0A7B-4955239618E4}"/>
              </a:ext>
            </a:extLst>
          </p:cNvPr>
          <p:cNvGrpSpPr/>
          <p:nvPr/>
        </p:nvGrpSpPr>
        <p:grpSpPr>
          <a:xfrm>
            <a:off x="5692332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56" name="Ellipse 90">
              <a:extLst>
                <a:ext uri="{FF2B5EF4-FFF2-40B4-BE49-F238E27FC236}">
                  <a16:creationId xmlns:a16="http://schemas.microsoft.com/office/drawing/2014/main" id="{F3EEDDD6-9A6B-29C3-F317-8DF2F627B133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57" name="Gerader Verbinder 91">
              <a:extLst>
                <a:ext uri="{FF2B5EF4-FFF2-40B4-BE49-F238E27FC236}">
                  <a16:creationId xmlns:a16="http://schemas.microsoft.com/office/drawing/2014/main" id="{6ADC6DA0-E6A9-D285-33A3-FB19D193F01B}"/>
                </a:ext>
              </a:extLst>
            </p:cNvPr>
            <p:cNvCxnSpPr>
              <a:stCxn id="56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92">
            <a:extLst>
              <a:ext uri="{FF2B5EF4-FFF2-40B4-BE49-F238E27FC236}">
                <a16:creationId xmlns:a16="http://schemas.microsoft.com/office/drawing/2014/main" id="{C9824E2F-60DB-C08E-C05B-10F66DF0FBD1}"/>
              </a:ext>
            </a:extLst>
          </p:cNvPr>
          <p:cNvGrpSpPr/>
          <p:nvPr/>
        </p:nvGrpSpPr>
        <p:grpSpPr>
          <a:xfrm>
            <a:off x="5853312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59" name="Ellipse 93">
              <a:extLst>
                <a:ext uri="{FF2B5EF4-FFF2-40B4-BE49-F238E27FC236}">
                  <a16:creationId xmlns:a16="http://schemas.microsoft.com/office/drawing/2014/main" id="{F08AEBC6-30C2-9B2A-F725-8BCC19F062ED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60" name="Gerader Verbinder 94">
              <a:extLst>
                <a:ext uri="{FF2B5EF4-FFF2-40B4-BE49-F238E27FC236}">
                  <a16:creationId xmlns:a16="http://schemas.microsoft.com/office/drawing/2014/main" id="{BDA449D6-802A-F58B-675F-780085908FA5}"/>
                </a:ext>
              </a:extLst>
            </p:cNvPr>
            <p:cNvCxnSpPr>
              <a:stCxn id="59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uppieren 95">
            <a:extLst>
              <a:ext uri="{FF2B5EF4-FFF2-40B4-BE49-F238E27FC236}">
                <a16:creationId xmlns:a16="http://schemas.microsoft.com/office/drawing/2014/main" id="{F4B85F2C-B16C-658E-E822-A913DC9A75C1}"/>
              </a:ext>
            </a:extLst>
          </p:cNvPr>
          <p:cNvGrpSpPr/>
          <p:nvPr/>
        </p:nvGrpSpPr>
        <p:grpSpPr>
          <a:xfrm>
            <a:off x="6014292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62" name="Ellipse 96">
              <a:extLst>
                <a:ext uri="{FF2B5EF4-FFF2-40B4-BE49-F238E27FC236}">
                  <a16:creationId xmlns:a16="http://schemas.microsoft.com/office/drawing/2014/main" id="{BD45B924-6383-AF7A-CCA9-4D29B9BF9692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63" name="Gerader Verbinder 97">
              <a:extLst>
                <a:ext uri="{FF2B5EF4-FFF2-40B4-BE49-F238E27FC236}">
                  <a16:creationId xmlns:a16="http://schemas.microsoft.com/office/drawing/2014/main" id="{3747C72B-4982-2740-E609-785BC7E56EB2}"/>
                </a:ext>
              </a:extLst>
            </p:cNvPr>
            <p:cNvCxnSpPr>
              <a:stCxn id="62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Rechteck 98">
            <a:extLst>
              <a:ext uri="{FF2B5EF4-FFF2-40B4-BE49-F238E27FC236}">
                <a16:creationId xmlns:a16="http://schemas.microsoft.com/office/drawing/2014/main" id="{E29CBCE7-BCF7-2DB7-9114-3031339409AF}"/>
              </a:ext>
            </a:extLst>
          </p:cNvPr>
          <p:cNvSpPr/>
          <p:nvPr/>
        </p:nvSpPr>
        <p:spPr>
          <a:xfrm>
            <a:off x="5046848" y="4078941"/>
            <a:ext cx="304032" cy="195232"/>
          </a:xfrm>
          <a:prstGeom prst="rect">
            <a:avLst/>
          </a:prstGeom>
          <a:solidFill>
            <a:srgbClr val="C8B4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/>
            <a:endParaRPr lang="de-DE" sz="2299"/>
          </a:p>
        </p:txBody>
      </p:sp>
      <p:sp>
        <p:nvSpPr>
          <p:cNvPr id="65" name="Rechteck 99">
            <a:extLst>
              <a:ext uri="{FF2B5EF4-FFF2-40B4-BE49-F238E27FC236}">
                <a16:creationId xmlns:a16="http://schemas.microsoft.com/office/drawing/2014/main" id="{315BB2C2-7DD5-C0AB-9D31-E3F96AF15840}"/>
              </a:ext>
            </a:extLst>
          </p:cNvPr>
          <p:cNvSpPr/>
          <p:nvPr/>
        </p:nvSpPr>
        <p:spPr>
          <a:xfrm>
            <a:off x="5449074" y="4078941"/>
            <a:ext cx="245328" cy="195232"/>
          </a:xfrm>
          <a:prstGeom prst="rect">
            <a:avLst/>
          </a:prstGeom>
          <a:solidFill>
            <a:srgbClr val="C8B4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/>
            <a:endParaRPr lang="de-DE" sz="2299"/>
          </a:p>
        </p:txBody>
      </p:sp>
      <p:sp>
        <p:nvSpPr>
          <p:cNvPr id="66" name="Rechteck 100">
            <a:extLst>
              <a:ext uri="{FF2B5EF4-FFF2-40B4-BE49-F238E27FC236}">
                <a16:creationId xmlns:a16="http://schemas.microsoft.com/office/drawing/2014/main" id="{6A284383-ED1B-D4A4-D38B-392651BE565D}"/>
              </a:ext>
            </a:extLst>
          </p:cNvPr>
          <p:cNvSpPr/>
          <p:nvPr/>
        </p:nvSpPr>
        <p:spPr>
          <a:xfrm>
            <a:off x="5800013" y="4148781"/>
            <a:ext cx="45712" cy="54296"/>
          </a:xfrm>
          <a:prstGeom prst="rect">
            <a:avLst/>
          </a:prstGeom>
          <a:solidFill>
            <a:srgbClr val="C8B4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/>
            <a:endParaRPr lang="de-DE" sz="2299"/>
          </a:p>
        </p:txBody>
      </p:sp>
      <p:sp>
        <p:nvSpPr>
          <p:cNvPr id="67" name="Rechteck 101">
            <a:extLst>
              <a:ext uri="{FF2B5EF4-FFF2-40B4-BE49-F238E27FC236}">
                <a16:creationId xmlns:a16="http://schemas.microsoft.com/office/drawing/2014/main" id="{7B5015A4-A945-A36B-B5B1-708164D2631F}"/>
              </a:ext>
            </a:extLst>
          </p:cNvPr>
          <p:cNvSpPr/>
          <p:nvPr/>
        </p:nvSpPr>
        <p:spPr>
          <a:xfrm>
            <a:off x="5864198" y="4148781"/>
            <a:ext cx="45712" cy="54296"/>
          </a:xfrm>
          <a:prstGeom prst="rect">
            <a:avLst/>
          </a:prstGeom>
          <a:solidFill>
            <a:srgbClr val="C8B4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/>
            <a:endParaRPr lang="de-DE" sz="2299"/>
          </a:p>
        </p:txBody>
      </p:sp>
      <p:sp>
        <p:nvSpPr>
          <p:cNvPr id="68" name="Rechteck 102">
            <a:extLst>
              <a:ext uri="{FF2B5EF4-FFF2-40B4-BE49-F238E27FC236}">
                <a16:creationId xmlns:a16="http://schemas.microsoft.com/office/drawing/2014/main" id="{B04198E7-0AC1-2F69-CA34-0D36DDFBE09B}"/>
              </a:ext>
            </a:extLst>
          </p:cNvPr>
          <p:cNvSpPr/>
          <p:nvPr/>
        </p:nvSpPr>
        <p:spPr>
          <a:xfrm>
            <a:off x="5928383" y="4148781"/>
            <a:ext cx="45712" cy="54296"/>
          </a:xfrm>
          <a:prstGeom prst="rect">
            <a:avLst/>
          </a:prstGeom>
          <a:solidFill>
            <a:srgbClr val="C8B4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/>
            <a:endParaRPr lang="de-DE" sz="2299"/>
          </a:p>
        </p:txBody>
      </p:sp>
      <p:grpSp>
        <p:nvGrpSpPr>
          <p:cNvPr id="69" name="Gruppieren 103">
            <a:extLst>
              <a:ext uri="{FF2B5EF4-FFF2-40B4-BE49-F238E27FC236}">
                <a16:creationId xmlns:a16="http://schemas.microsoft.com/office/drawing/2014/main" id="{AB945CCD-D4FC-D1A7-A7E1-C0BD90757672}"/>
              </a:ext>
            </a:extLst>
          </p:cNvPr>
          <p:cNvGrpSpPr/>
          <p:nvPr/>
        </p:nvGrpSpPr>
        <p:grpSpPr>
          <a:xfrm>
            <a:off x="6156378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70" name="Ellipse 104">
              <a:extLst>
                <a:ext uri="{FF2B5EF4-FFF2-40B4-BE49-F238E27FC236}">
                  <a16:creationId xmlns:a16="http://schemas.microsoft.com/office/drawing/2014/main" id="{4E43D5E6-910F-AADD-E13D-B00A48A37C6F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71" name="Gerader Verbinder 105">
              <a:extLst>
                <a:ext uri="{FF2B5EF4-FFF2-40B4-BE49-F238E27FC236}">
                  <a16:creationId xmlns:a16="http://schemas.microsoft.com/office/drawing/2014/main" id="{CCA7BE16-32FD-F9F3-CAB8-2CC8E361B6F6}"/>
                </a:ext>
              </a:extLst>
            </p:cNvPr>
            <p:cNvCxnSpPr>
              <a:stCxn id="70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pieren 106">
            <a:extLst>
              <a:ext uri="{FF2B5EF4-FFF2-40B4-BE49-F238E27FC236}">
                <a16:creationId xmlns:a16="http://schemas.microsoft.com/office/drawing/2014/main" id="{57AABC62-B529-2463-927B-16D0D17E5909}"/>
              </a:ext>
            </a:extLst>
          </p:cNvPr>
          <p:cNvGrpSpPr/>
          <p:nvPr/>
        </p:nvGrpSpPr>
        <p:grpSpPr>
          <a:xfrm>
            <a:off x="6317359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73" name="Ellipse 107">
              <a:extLst>
                <a:ext uri="{FF2B5EF4-FFF2-40B4-BE49-F238E27FC236}">
                  <a16:creationId xmlns:a16="http://schemas.microsoft.com/office/drawing/2014/main" id="{64FEB08A-D607-D5CB-6B5B-81DB0761E98D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74" name="Gerader Verbinder 108">
              <a:extLst>
                <a:ext uri="{FF2B5EF4-FFF2-40B4-BE49-F238E27FC236}">
                  <a16:creationId xmlns:a16="http://schemas.microsoft.com/office/drawing/2014/main" id="{7E0C9022-E0DA-1A84-9BCE-9FE8B4C5F300}"/>
                </a:ext>
              </a:extLst>
            </p:cNvPr>
            <p:cNvCxnSpPr>
              <a:stCxn id="73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Gruppieren 109">
            <a:extLst>
              <a:ext uri="{FF2B5EF4-FFF2-40B4-BE49-F238E27FC236}">
                <a16:creationId xmlns:a16="http://schemas.microsoft.com/office/drawing/2014/main" id="{E366075C-ABB1-87FE-32AB-003719DFF79E}"/>
              </a:ext>
            </a:extLst>
          </p:cNvPr>
          <p:cNvGrpSpPr/>
          <p:nvPr/>
        </p:nvGrpSpPr>
        <p:grpSpPr>
          <a:xfrm>
            <a:off x="6478339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76" name="Ellipse 110">
              <a:extLst>
                <a:ext uri="{FF2B5EF4-FFF2-40B4-BE49-F238E27FC236}">
                  <a16:creationId xmlns:a16="http://schemas.microsoft.com/office/drawing/2014/main" id="{DE39C32A-0D81-AC1F-2AE5-3D155EDB829A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77" name="Gerader Verbinder 111">
              <a:extLst>
                <a:ext uri="{FF2B5EF4-FFF2-40B4-BE49-F238E27FC236}">
                  <a16:creationId xmlns:a16="http://schemas.microsoft.com/office/drawing/2014/main" id="{333267E0-B7A1-74FC-AA2E-F05AC2AEC62B}"/>
                </a:ext>
              </a:extLst>
            </p:cNvPr>
            <p:cNvCxnSpPr>
              <a:stCxn id="76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uppieren 112">
            <a:extLst>
              <a:ext uri="{FF2B5EF4-FFF2-40B4-BE49-F238E27FC236}">
                <a16:creationId xmlns:a16="http://schemas.microsoft.com/office/drawing/2014/main" id="{E559AC05-1EB3-ECFA-CE49-7BA0C7306777}"/>
              </a:ext>
            </a:extLst>
          </p:cNvPr>
          <p:cNvGrpSpPr/>
          <p:nvPr/>
        </p:nvGrpSpPr>
        <p:grpSpPr>
          <a:xfrm>
            <a:off x="6639319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79" name="Ellipse 113">
              <a:extLst>
                <a:ext uri="{FF2B5EF4-FFF2-40B4-BE49-F238E27FC236}">
                  <a16:creationId xmlns:a16="http://schemas.microsoft.com/office/drawing/2014/main" id="{5D20F3AC-DB2A-34CD-8B1F-0A61DBC420C2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80" name="Gerader Verbinder 114">
              <a:extLst>
                <a:ext uri="{FF2B5EF4-FFF2-40B4-BE49-F238E27FC236}">
                  <a16:creationId xmlns:a16="http://schemas.microsoft.com/office/drawing/2014/main" id="{927DD0C0-6440-638F-065C-9CECDD74D241}"/>
                </a:ext>
              </a:extLst>
            </p:cNvPr>
            <p:cNvCxnSpPr>
              <a:stCxn id="79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uppieren 115">
            <a:extLst>
              <a:ext uri="{FF2B5EF4-FFF2-40B4-BE49-F238E27FC236}">
                <a16:creationId xmlns:a16="http://schemas.microsoft.com/office/drawing/2014/main" id="{CA91B2F5-55FC-4412-1E4F-AA84CD109051}"/>
              </a:ext>
            </a:extLst>
          </p:cNvPr>
          <p:cNvGrpSpPr/>
          <p:nvPr/>
        </p:nvGrpSpPr>
        <p:grpSpPr>
          <a:xfrm>
            <a:off x="4438194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82" name="Ellipse 116">
              <a:extLst>
                <a:ext uri="{FF2B5EF4-FFF2-40B4-BE49-F238E27FC236}">
                  <a16:creationId xmlns:a16="http://schemas.microsoft.com/office/drawing/2014/main" id="{A0DC80AC-84C9-8103-10AB-677897295FAE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83" name="Gerader Verbinder 117">
              <a:extLst>
                <a:ext uri="{FF2B5EF4-FFF2-40B4-BE49-F238E27FC236}">
                  <a16:creationId xmlns:a16="http://schemas.microsoft.com/office/drawing/2014/main" id="{1A4949FA-08EE-85A6-1641-AAA7DA1C6198}"/>
                </a:ext>
              </a:extLst>
            </p:cNvPr>
            <p:cNvCxnSpPr>
              <a:stCxn id="82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uppieren 118">
            <a:extLst>
              <a:ext uri="{FF2B5EF4-FFF2-40B4-BE49-F238E27FC236}">
                <a16:creationId xmlns:a16="http://schemas.microsoft.com/office/drawing/2014/main" id="{E6B3459E-146C-821E-97E5-25E465DE7005}"/>
              </a:ext>
            </a:extLst>
          </p:cNvPr>
          <p:cNvGrpSpPr/>
          <p:nvPr/>
        </p:nvGrpSpPr>
        <p:grpSpPr>
          <a:xfrm>
            <a:off x="4599174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85" name="Ellipse 119">
              <a:extLst>
                <a:ext uri="{FF2B5EF4-FFF2-40B4-BE49-F238E27FC236}">
                  <a16:creationId xmlns:a16="http://schemas.microsoft.com/office/drawing/2014/main" id="{97DD10B9-3D78-C432-5E10-8B0A852CA467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86" name="Gerader Verbinder 120">
              <a:extLst>
                <a:ext uri="{FF2B5EF4-FFF2-40B4-BE49-F238E27FC236}">
                  <a16:creationId xmlns:a16="http://schemas.microsoft.com/office/drawing/2014/main" id="{DDABF82F-2C6F-D18D-7200-D9666E168F7B}"/>
                </a:ext>
              </a:extLst>
            </p:cNvPr>
            <p:cNvCxnSpPr>
              <a:stCxn id="85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uppieren 121">
            <a:extLst>
              <a:ext uri="{FF2B5EF4-FFF2-40B4-BE49-F238E27FC236}">
                <a16:creationId xmlns:a16="http://schemas.microsoft.com/office/drawing/2014/main" id="{44A1B981-B5AC-8F65-B0C7-2ED78B1F7F74}"/>
              </a:ext>
            </a:extLst>
          </p:cNvPr>
          <p:cNvGrpSpPr/>
          <p:nvPr/>
        </p:nvGrpSpPr>
        <p:grpSpPr>
          <a:xfrm>
            <a:off x="4760154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88" name="Ellipse 122">
              <a:extLst>
                <a:ext uri="{FF2B5EF4-FFF2-40B4-BE49-F238E27FC236}">
                  <a16:creationId xmlns:a16="http://schemas.microsoft.com/office/drawing/2014/main" id="{6D20EB29-4DC5-0A3F-6521-B9E31576021C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89" name="Gerader Verbinder 123">
              <a:extLst>
                <a:ext uri="{FF2B5EF4-FFF2-40B4-BE49-F238E27FC236}">
                  <a16:creationId xmlns:a16="http://schemas.microsoft.com/office/drawing/2014/main" id="{945F79CF-6F12-1DD7-C844-6AB2ACD29496}"/>
                </a:ext>
              </a:extLst>
            </p:cNvPr>
            <p:cNvCxnSpPr>
              <a:stCxn id="88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uppieren 124">
            <a:extLst>
              <a:ext uri="{FF2B5EF4-FFF2-40B4-BE49-F238E27FC236}">
                <a16:creationId xmlns:a16="http://schemas.microsoft.com/office/drawing/2014/main" id="{22DFC8E3-4ABF-8E27-DA17-623DF640B0FB}"/>
              </a:ext>
            </a:extLst>
          </p:cNvPr>
          <p:cNvGrpSpPr/>
          <p:nvPr/>
        </p:nvGrpSpPr>
        <p:grpSpPr>
          <a:xfrm>
            <a:off x="4921134" y="3353804"/>
            <a:ext cx="98241" cy="148766"/>
            <a:chOff x="3702050" y="2497775"/>
            <a:chExt cx="98256" cy="148789"/>
          </a:xfrm>
          <a:solidFill>
            <a:schemeClr val="tx2"/>
          </a:solidFill>
        </p:grpSpPr>
        <p:sp>
          <p:nvSpPr>
            <p:cNvPr id="91" name="Ellipse 125">
              <a:extLst>
                <a:ext uri="{FF2B5EF4-FFF2-40B4-BE49-F238E27FC236}">
                  <a16:creationId xmlns:a16="http://schemas.microsoft.com/office/drawing/2014/main" id="{E343E305-5036-581A-F685-DFCD1AF8AB49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92" name="Gerader Verbinder 126">
              <a:extLst>
                <a:ext uri="{FF2B5EF4-FFF2-40B4-BE49-F238E27FC236}">
                  <a16:creationId xmlns:a16="http://schemas.microsoft.com/office/drawing/2014/main" id="{067BA635-890A-F030-54D4-A27255CC877E}"/>
                </a:ext>
              </a:extLst>
            </p:cNvPr>
            <p:cNvCxnSpPr>
              <a:stCxn id="91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Gruppieren 127">
            <a:extLst>
              <a:ext uri="{FF2B5EF4-FFF2-40B4-BE49-F238E27FC236}">
                <a16:creationId xmlns:a16="http://schemas.microsoft.com/office/drawing/2014/main" id="{160EE9FA-1418-2D68-465C-A3E4D764674D}"/>
              </a:ext>
            </a:extLst>
          </p:cNvPr>
          <p:cNvGrpSpPr/>
          <p:nvPr/>
        </p:nvGrpSpPr>
        <p:grpSpPr>
          <a:xfrm>
            <a:off x="4948607" y="4705817"/>
            <a:ext cx="98241" cy="148766"/>
            <a:chOff x="3702050" y="2497775"/>
            <a:chExt cx="98256" cy="148789"/>
          </a:xfrm>
          <a:solidFill>
            <a:srgbClr val="D90000"/>
          </a:solidFill>
        </p:grpSpPr>
        <p:sp>
          <p:nvSpPr>
            <p:cNvPr id="94" name="Ellipse 128">
              <a:extLst>
                <a:ext uri="{FF2B5EF4-FFF2-40B4-BE49-F238E27FC236}">
                  <a16:creationId xmlns:a16="http://schemas.microsoft.com/office/drawing/2014/main" id="{795D0EA7-3BC7-F616-D583-155630A49B0C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95" name="Gerader Verbinder 129">
              <a:extLst>
                <a:ext uri="{FF2B5EF4-FFF2-40B4-BE49-F238E27FC236}">
                  <a16:creationId xmlns:a16="http://schemas.microsoft.com/office/drawing/2014/main" id="{7801FCFB-80E7-B5F3-2516-7DABD6693E45}"/>
                </a:ext>
              </a:extLst>
            </p:cNvPr>
            <p:cNvCxnSpPr>
              <a:stCxn id="94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pieren 130">
            <a:extLst>
              <a:ext uri="{FF2B5EF4-FFF2-40B4-BE49-F238E27FC236}">
                <a16:creationId xmlns:a16="http://schemas.microsoft.com/office/drawing/2014/main" id="{E6651F49-1DC6-C080-DCD8-1188A5ED2B8C}"/>
              </a:ext>
            </a:extLst>
          </p:cNvPr>
          <p:cNvGrpSpPr/>
          <p:nvPr/>
        </p:nvGrpSpPr>
        <p:grpSpPr>
          <a:xfrm>
            <a:off x="5108961" y="4705817"/>
            <a:ext cx="98241" cy="148766"/>
            <a:chOff x="3702050" y="2497775"/>
            <a:chExt cx="98256" cy="148789"/>
          </a:xfrm>
          <a:solidFill>
            <a:srgbClr val="D90000"/>
          </a:solidFill>
        </p:grpSpPr>
        <p:sp>
          <p:nvSpPr>
            <p:cNvPr id="97" name="Ellipse 131">
              <a:extLst>
                <a:ext uri="{FF2B5EF4-FFF2-40B4-BE49-F238E27FC236}">
                  <a16:creationId xmlns:a16="http://schemas.microsoft.com/office/drawing/2014/main" id="{1C6F02F0-9C5D-9F3E-15B9-D8AA8F196127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98" name="Gerader Verbinder 132">
              <a:extLst>
                <a:ext uri="{FF2B5EF4-FFF2-40B4-BE49-F238E27FC236}">
                  <a16:creationId xmlns:a16="http://schemas.microsoft.com/office/drawing/2014/main" id="{8EB20E5B-DF8A-B1EA-2C92-05E5C5380CAF}"/>
                </a:ext>
              </a:extLst>
            </p:cNvPr>
            <p:cNvCxnSpPr>
              <a:stCxn id="97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Gruppieren 133">
            <a:extLst>
              <a:ext uri="{FF2B5EF4-FFF2-40B4-BE49-F238E27FC236}">
                <a16:creationId xmlns:a16="http://schemas.microsoft.com/office/drawing/2014/main" id="{AC116C03-AEDF-FD22-65CB-E54C86FB57B3}"/>
              </a:ext>
            </a:extLst>
          </p:cNvPr>
          <p:cNvGrpSpPr/>
          <p:nvPr/>
        </p:nvGrpSpPr>
        <p:grpSpPr>
          <a:xfrm>
            <a:off x="5258511" y="4705817"/>
            <a:ext cx="98241" cy="148766"/>
            <a:chOff x="3702050" y="2497775"/>
            <a:chExt cx="98256" cy="148789"/>
          </a:xfrm>
          <a:solidFill>
            <a:srgbClr val="D90000"/>
          </a:solidFill>
        </p:grpSpPr>
        <p:sp>
          <p:nvSpPr>
            <p:cNvPr id="100" name="Ellipse 134">
              <a:extLst>
                <a:ext uri="{FF2B5EF4-FFF2-40B4-BE49-F238E27FC236}">
                  <a16:creationId xmlns:a16="http://schemas.microsoft.com/office/drawing/2014/main" id="{1FC8D4F4-4EBA-608F-E855-9804885EA595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101" name="Gerader Verbinder 135">
              <a:extLst>
                <a:ext uri="{FF2B5EF4-FFF2-40B4-BE49-F238E27FC236}">
                  <a16:creationId xmlns:a16="http://schemas.microsoft.com/office/drawing/2014/main" id="{1E9F19E0-696C-638A-E4E5-48A7032C82E8}"/>
                </a:ext>
              </a:extLst>
            </p:cNvPr>
            <p:cNvCxnSpPr>
              <a:stCxn id="100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uppieren 136">
            <a:extLst>
              <a:ext uri="{FF2B5EF4-FFF2-40B4-BE49-F238E27FC236}">
                <a16:creationId xmlns:a16="http://schemas.microsoft.com/office/drawing/2014/main" id="{E289D7C2-245D-68E1-AB4C-5BAE65548D93}"/>
              </a:ext>
            </a:extLst>
          </p:cNvPr>
          <p:cNvGrpSpPr/>
          <p:nvPr/>
        </p:nvGrpSpPr>
        <p:grpSpPr>
          <a:xfrm>
            <a:off x="5418403" y="4705817"/>
            <a:ext cx="98241" cy="148766"/>
            <a:chOff x="3702050" y="2497775"/>
            <a:chExt cx="98256" cy="148789"/>
          </a:xfrm>
          <a:solidFill>
            <a:srgbClr val="D90000"/>
          </a:solidFill>
        </p:grpSpPr>
        <p:sp>
          <p:nvSpPr>
            <p:cNvPr id="103" name="Ellipse 137">
              <a:extLst>
                <a:ext uri="{FF2B5EF4-FFF2-40B4-BE49-F238E27FC236}">
                  <a16:creationId xmlns:a16="http://schemas.microsoft.com/office/drawing/2014/main" id="{7F42A603-D638-FE0B-8045-0DFD11ED1ABA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104" name="Gerader Verbinder 138">
              <a:extLst>
                <a:ext uri="{FF2B5EF4-FFF2-40B4-BE49-F238E27FC236}">
                  <a16:creationId xmlns:a16="http://schemas.microsoft.com/office/drawing/2014/main" id="{63AAD688-8B28-29B2-CF37-1FA4071CADF9}"/>
                </a:ext>
              </a:extLst>
            </p:cNvPr>
            <p:cNvCxnSpPr>
              <a:stCxn id="103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Gruppieren 139">
            <a:extLst>
              <a:ext uri="{FF2B5EF4-FFF2-40B4-BE49-F238E27FC236}">
                <a16:creationId xmlns:a16="http://schemas.microsoft.com/office/drawing/2014/main" id="{1F760E1F-179B-B5B3-84A6-621EA170E019}"/>
              </a:ext>
            </a:extLst>
          </p:cNvPr>
          <p:cNvGrpSpPr/>
          <p:nvPr/>
        </p:nvGrpSpPr>
        <p:grpSpPr>
          <a:xfrm>
            <a:off x="5577522" y="4705817"/>
            <a:ext cx="98241" cy="148766"/>
            <a:chOff x="3702050" y="2497775"/>
            <a:chExt cx="98256" cy="148789"/>
          </a:xfrm>
          <a:solidFill>
            <a:srgbClr val="D90000"/>
          </a:solidFill>
        </p:grpSpPr>
        <p:sp>
          <p:nvSpPr>
            <p:cNvPr id="106" name="Ellipse 140">
              <a:extLst>
                <a:ext uri="{FF2B5EF4-FFF2-40B4-BE49-F238E27FC236}">
                  <a16:creationId xmlns:a16="http://schemas.microsoft.com/office/drawing/2014/main" id="{1C29CF22-2914-A1DE-1C65-7578AB91D219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107" name="Gerader Verbinder 141">
              <a:extLst>
                <a:ext uri="{FF2B5EF4-FFF2-40B4-BE49-F238E27FC236}">
                  <a16:creationId xmlns:a16="http://schemas.microsoft.com/office/drawing/2014/main" id="{A7E1FE95-5A2A-C562-EE53-C76FFE74AFC3}"/>
                </a:ext>
              </a:extLst>
            </p:cNvPr>
            <p:cNvCxnSpPr>
              <a:stCxn id="106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uppieren 142">
            <a:extLst>
              <a:ext uri="{FF2B5EF4-FFF2-40B4-BE49-F238E27FC236}">
                <a16:creationId xmlns:a16="http://schemas.microsoft.com/office/drawing/2014/main" id="{A5812C4B-D393-B087-C83F-B362E8FFB445}"/>
              </a:ext>
            </a:extLst>
          </p:cNvPr>
          <p:cNvGrpSpPr/>
          <p:nvPr/>
        </p:nvGrpSpPr>
        <p:grpSpPr>
          <a:xfrm>
            <a:off x="5721628" y="4705817"/>
            <a:ext cx="98241" cy="148766"/>
            <a:chOff x="3702050" y="2497775"/>
            <a:chExt cx="98256" cy="148789"/>
          </a:xfrm>
          <a:solidFill>
            <a:srgbClr val="D90000"/>
          </a:solidFill>
        </p:grpSpPr>
        <p:sp>
          <p:nvSpPr>
            <p:cNvPr id="109" name="Ellipse 143">
              <a:extLst>
                <a:ext uri="{FF2B5EF4-FFF2-40B4-BE49-F238E27FC236}">
                  <a16:creationId xmlns:a16="http://schemas.microsoft.com/office/drawing/2014/main" id="{3EF4956E-BB1B-652F-0548-60DF993F4CB4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110" name="Gerader Verbinder 144">
              <a:extLst>
                <a:ext uri="{FF2B5EF4-FFF2-40B4-BE49-F238E27FC236}">
                  <a16:creationId xmlns:a16="http://schemas.microsoft.com/office/drawing/2014/main" id="{5358621A-A911-2374-B1C8-CE98537B6BBB}"/>
                </a:ext>
              </a:extLst>
            </p:cNvPr>
            <p:cNvCxnSpPr>
              <a:stCxn id="109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Gruppieren 145">
            <a:extLst>
              <a:ext uri="{FF2B5EF4-FFF2-40B4-BE49-F238E27FC236}">
                <a16:creationId xmlns:a16="http://schemas.microsoft.com/office/drawing/2014/main" id="{BB3CE960-A9D5-3FFF-8569-4447BBCC5871}"/>
              </a:ext>
            </a:extLst>
          </p:cNvPr>
          <p:cNvGrpSpPr/>
          <p:nvPr/>
        </p:nvGrpSpPr>
        <p:grpSpPr>
          <a:xfrm>
            <a:off x="5874568" y="4705817"/>
            <a:ext cx="98241" cy="148766"/>
            <a:chOff x="3702050" y="2497775"/>
            <a:chExt cx="98256" cy="148789"/>
          </a:xfrm>
          <a:solidFill>
            <a:srgbClr val="D90000"/>
          </a:solidFill>
        </p:grpSpPr>
        <p:sp>
          <p:nvSpPr>
            <p:cNvPr id="112" name="Ellipse 146">
              <a:extLst>
                <a:ext uri="{FF2B5EF4-FFF2-40B4-BE49-F238E27FC236}">
                  <a16:creationId xmlns:a16="http://schemas.microsoft.com/office/drawing/2014/main" id="{51D726E7-5F4A-1AF6-0F32-F9665ABD98D7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113" name="Gerader Verbinder 147">
              <a:extLst>
                <a:ext uri="{FF2B5EF4-FFF2-40B4-BE49-F238E27FC236}">
                  <a16:creationId xmlns:a16="http://schemas.microsoft.com/office/drawing/2014/main" id="{65F4D396-26F1-97E2-F9B8-ABB3F757CFF8}"/>
                </a:ext>
              </a:extLst>
            </p:cNvPr>
            <p:cNvCxnSpPr>
              <a:stCxn id="112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uppieren 148">
            <a:extLst>
              <a:ext uri="{FF2B5EF4-FFF2-40B4-BE49-F238E27FC236}">
                <a16:creationId xmlns:a16="http://schemas.microsoft.com/office/drawing/2014/main" id="{3B15ACC1-B2F6-3D75-2EE2-540111161224}"/>
              </a:ext>
            </a:extLst>
          </p:cNvPr>
          <p:cNvGrpSpPr/>
          <p:nvPr/>
        </p:nvGrpSpPr>
        <p:grpSpPr>
          <a:xfrm>
            <a:off x="6027288" y="4705817"/>
            <a:ext cx="98241" cy="148766"/>
            <a:chOff x="3702050" y="2497775"/>
            <a:chExt cx="98256" cy="148789"/>
          </a:xfrm>
          <a:solidFill>
            <a:srgbClr val="D90000"/>
          </a:solidFill>
        </p:grpSpPr>
        <p:sp>
          <p:nvSpPr>
            <p:cNvPr id="115" name="Ellipse 149">
              <a:extLst>
                <a:ext uri="{FF2B5EF4-FFF2-40B4-BE49-F238E27FC236}">
                  <a16:creationId xmlns:a16="http://schemas.microsoft.com/office/drawing/2014/main" id="{5B5566FC-58E3-776D-3E2E-A5365B7511A5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116" name="Gerader Verbinder 150">
              <a:extLst>
                <a:ext uri="{FF2B5EF4-FFF2-40B4-BE49-F238E27FC236}">
                  <a16:creationId xmlns:a16="http://schemas.microsoft.com/office/drawing/2014/main" id="{07F93D15-2229-8BA0-FA49-1AFC36A4BBA1}"/>
                </a:ext>
              </a:extLst>
            </p:cNvPr>
            <p:cNvCxnSpPr>
              <a:stCxn id="115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Gruppieren 151">
            <a:extLst>
              <a:ext uri="{FF2B5EF4-FFF2-40B4-BE49-F238E27FC236}">
                <a16:creationId xmlns:a16="http://schemas.microsoft.com/office/drawing/2014/main" id="{2ED1BDE4-937A-EED5-A1D5-3436E55AB5A9}"/>
              </a:ext>
            </a:extLst>
          </p:cNvPr>
          <p:cNvGrpSpPr/>
          <p:nvPr/>
        </p:nvGrpSpPr>
        <p:grpSpPr>
          <a:xfrm>
            <a:off x="6187299" y="4705817"/>
            <a:ext cx="98241" cy="148766"/>
            <a:chOff x="3702050" y="2497775"/>
            <a:chExt cx="98256" cy="148789"/>
          </a:xfrm>
          <a:solidFill>
            <a:srgbClr val="D90000"/>
          </a:solidFill>
        </p:grpSpPr>
        <p:sp>
          <p:nvSpPr>
            <p:cNvPr id="118" name="Ellipse 152">
              <a:extLst>
                <a:ext uri="{FF2B5EF4-FFF2-40B4-BE49-F238E27FC236}">
                  <a16:creationId xmlns:a16="http://schemas.microsoft.com/office/drawing/2014/main" id="{3F794482-F80C-76AE-14F7-BAB88F4E3DB0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119" name="Gerader Verbinder 153">
              <a:extLst>
                <a:ext uri="{FF2B5EF4-FFF2-40B4-BE49-F238E27FC236}">
                  <a16:creationId xmlns:a16="http://schemas.microsoft.com/office/drawing/2014/main" id="{0DC979D8-4DAB-3693-1A26-2B2CB599793B}"/>
                </a:ext>
              </a:extLst>
            </p:cNvPr>
            <p:cNvCxnSpPr>
              <a:stCxn id="118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D9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0" name="Gruppieren 154">
            <a:extLst>
              <a:ext uri="{FF2B5EF4-FFF2-40B4-BE49-F238E27FC236}">
                <a16:creationId xmlns:a16="http://schemas.microsoft.com/office/drawing/2014/main" id="{A97599D5-9FE6-13D3-02B8-2D58DD5BA1B3}"/>
              </a:ext>
            </a:extLst>
          </p:cNvPr>
          <p:cNvGrpSpPr/>
          <p:nvPr/>
        </p:nvGrpSpPr>
        <p:grpSpPr>
          <a:xfrm>
            <a:off x="5061077" y="3967320"/>
            <a:ext cx="98241" cy="148766"/>
            <a:chOff x="3702050" y="2497775"/>
            <a:chExt cx="98256" cy="148789"/>
          </a:xfrm>
          <a:solidFill>
            <a:srgbClr val="C8B45A"/>
          </a:solidFill>
        </p:grpSpPr>
        <p:sp>
          <p:nvSpPr>
            <p:cNvPr id="121" name="Ellipse 155">
              <a:extLst>
                <a:ext uri="{FF2B5EF4-FFF2-40B4-BE49-F238E27FC236}">
                  <a16:creationId xmlns:a16="http://schemas.microsoft.com/office/drawing/2014/main" id="{A01D9669-295F-2B1D-4018-DDF7FD6AAEA4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C8B45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122" name="Gerader Verbinder 156">
              <a:extLst>
                <a:ext uri="{FF2B5EF4-FFF2-40B4-BE49-F238E27FC236}">
                  <a16:creationId xmlns:a16="http://schemas.microsoft.com/office/drawing/2014/main" id="{42F6BFBB-D1B4-A974-A513-611A192086F5}"/>
                </a:ext>
              </a:extLst>
            </p:cNvPr>
            <p:cNvCxnSpPr>
              <a:stCxn id="121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C8B45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uppieren 157">
            <a:extLst>
              <a:ext uri="{FF2B5EF4-FFF2-40B4-BE49-F238E27FC236}">
                <a16:creationId xmlns:a16="http://schemas.microsoft.com/office/drawing/2014/main" id="{8F52D75F-265F-4B1D-F133-F11C219BC950}"/>
              </a:ext>
            </a:extLst>
          </p:cNvPr>
          <p:cNvGrpSpPr/>
          <p:nvPr/>
        </p:nvGrpSpPr>
        <p:grpSpPr>
          <a:xfrm>
            <a:off x="5194485" y="3967320"/>
            <a:ext cx="98241" cy="148766"/>
            <a:chOff x="3702050" y="2497775"/>
            <a:chExt cx="98256" cy="148789"/>
          </a:xfrm>
          <a:solidFill>
            <a:srgbClr val="C8B45A"/>
          </a:solidFill>
        </p:grpSpPr>
        <p:sp>
          <p:nvSpPr>
            <p:cNvPr id="124" name="Ellipse 158">
              <a:extLst>
                <a:ext uri="{FF2B5EF4-FFF2-40B4-BE49-F238E27FC236}">
                  <a16:creationId xmlns:a16="http://schemas.microsoft.com/office/drawing/2014/main" id="{F956DC53-8CFB-9C62-51C4-C80E8C3E1EFD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C8B45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125" name="Gerader Verbinder 159">
              <a:extLst>
                <a:ext uri="{FF2B5EF4-FFF2-40B4-BE49-F238E27FC236}">
                  <a16:creationId xmlns:a16="http://schemas.microsoft.com/office/drawing/2014/main" id="{396D97AA-E13E-E7E4-E7C6-E130C85903ED}"/>
                </a:ext>
              </a:extLst>
            </p:cNvPr>
            <p:cNvCxnSpPr>
              <a:stCxn id="124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C8B45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6" name="Gruppieren 160">
            <a:extLst>
              <a:ext uri="{FF2B5EF4-FFF2-40B4-BE49-F238E27FC236}">
                <a16:creationId xmlns:a16="http://schemas.microsoft.com/office/drawing/2014/main" id="{DB5AC702-95CB-8316-CC57-45B47B4F1B4E}"/>
              </a:ext>
            </a:extLst>
          </p:cNvPr>
          <p:cNvGrpSpPr/>
          <p:nvPr/>
        </p:nvGrpSpPr>
        <p:grpSpPr>
          <a:xfrm>
            <a:off x="5499301" y="3967320"/>
            <a:ext cx="98241" cy="148766"/>
            <a:chOff x="3702050" y="2497775"/>
            <a:chExt cx="98256" cy="148789"/>
          </a:xfrm>
          <a:solidFill>
            <a:srgbClr val="C8B45A"/>
          </a:solidFill>
        </p:grpSpPr>
        <p:sp>
          <p:nvSpPr>
            <p:cNvPr id="127" name="Ellipse 161">
              <a:extLst>
                <a:ext uri="{FF2B5EF4-FFF2-40B4-BE49-F238E27FC236}">
                  <a16:creationId xmlns:a16="http://schemas.microsoft.com/office/drawing/2014/main" id="{8CF57763-BA94-2C41-D889-510B86BD23C5}"/>
                </a:ext>
              </a:extLst>
            </p:cNvPr>
            <p:cNvSpPr/>
            <p:nvPr/>
          </p:nvSpPr>
          <p:spPr>
            <a:xfrm>
              <a:off x="3702050" y="2497775"/>
              <a:ext cx="98256" cy="93080"/>
            </a:xfrm>
            <a:prstGeom prst="ellipse">
              <a:avLst/>
            </a:prstGeom>
            <a:grpFill/>
            <a:ln w="12700">
              <a:solidFill>
                <a:srgbClr val="C8B45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89" tIns="71989" rIns="71989" bIns="71989" rtlCol="0" anchor="ctr"/>
            <a:lstStyle/>
            <a:p>
              <a:pPr algn="ctr"/>
              <a:endParaRPr lang="de-DE" sz="2299"/>
            </a:p>
          </p:txBody>
        </p:sp>
        <p:cxnSp>
          <p:nvCxnSpPr>
            <p:cNvPr id="128" name="Gerader Verbinder 162">
              <a:extLst>
                <a:ext uri="{FF2B5EF4-FFF2-40B4-BE49-F238E27FC236}">
                  <a16:creationId xmlns:a16="http://schemas.microsoft.com/office/drawing/2014/main" id="{9844864B-45B2-2F08-F41A-7B2D0A8D84DD}"/>
                </a:ext>
              </a:extLst>
            </p:cNvPr>
            <p:cNvCxnSpPr>
              <a:stCxn id="127" idx="4"/>
            </p:cNvCxnSpPr>
            <p:nvPr/>
          </p:nvCxnSpPr>
          <p:spPr>
            <a:xfrm>
              <a:off x="3751178" y="2590855"/>
              <a:ext cx="1672" cy="55709"/>
            </a:xfrm>
            <a:prstGeom prst="line">
              <a:avLst/>
            </a:prstGeom>
            <a:grpFill/>
            <a:ln w="12700">
              <a:solidFill>
                <a:srgbClr val="C8B45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9" name="Gerade Verbindung mit Pfeil 167">
            <a:extLst>
              <a:ext uri="{FF2B5EF4-FFF2-40B4-BE49-F238E27FC236}">
                <a16:creationId xmlns:a16="http://schemas.microsoft.com/office/drawing/2014/main" id="{2AF79C96-5D72-759A-BAEB-F35CAD5D5789}"/>
              </a:ext>
            </a:extLst>
          </p:cNvPr>
          <p:cNvCxnSpPr>
            <a:cxnSpLocks/>
            <a:stCxn id="70" idx="0"/>
          </p:cNvCxnSpPr>
          <p:nvPr/>
        </p:nvCxnSpPr>
        <p:spPr>
          <a:xfrm flipV="1">
            <a:off x="6205499" y="1845751"/>
            <a:ext cx="3084073" cy="1508053"/>
          </a:xfrm>
          <a:prstGeom prst="straightConnector1">
            <a:avLst/>
          </a:prstGeom>
          <a:ln w="12700">
            <a:solidFill>
              <a:schemeClr val="tx2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68">
            <a:extLst>
              <a:ext uri="{FF2B5EF4-FFF2-40B4-BE49-F238E27FC236}">
                <a16:creationId xmlns:a16="http://schemas.microsoft.com/office/drawing/2014/main" id="{458EFE44-2BA2-9AAA-3031-CD93DD8B9B4E}"/>
              </a:ext>
            </a:extLst>
          </p:cNvPr>
          <p:cNvCxnSpPr>
            <a:cxnSpLocks/>
            <a:stCxn id="44" idx="0"/>
          </p:cNvCxnSpPr>
          <p:nvPr/>
        </p:nvCxnSpPr>
        <p:spPr>
          <a:xfrm flipH="1" flipV="1">
            <a:off x="2647194" y="1845751"/>
            <a:ext cx="2450337" cy="1508053"/>
          </a:xfrm>
          <a:prstGeom prst="straightConnector1">
            <a:avLst/>
          </a:prstGeom>
          <a:ln w="12700">
            <a:solidFill>
              <a:schemeClr val="tx2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feld 173">
            <a:extLst>
              <a:ext uri="{FF2B5EF4-FFF2-40B4-BE49-F238E27FC236}">
                <a16:creationId xmlns:a16="http://schemas.microsoft.com/office/drawing/2014/main" id="{E08C1C7C-6783-915F-0B5F-C511DB102074}"/>
              </a:ext>
            </a:extLst>
          </p:cNvPr>
          <p:cNvSpPr txBox="1"/>
          <p:nvPr/>
        </p:nvSpPr>
        <p:spPr>
          <a:xfrm>
            <a:off x="4559176" y="2480167"/>
            <a:ext cx="2445441" cy="4762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buClr>
                <a:schemeClr val="tx2"/>
              </a:buClr>
              <a:buSzPct val="100000"/>
            </a:pPr>
            <a:endParaRPr lang="de-DE" sz="1600">
              <a:solidFill>
                <a:schemeClr val="tx2"/>
              </a:solidFill>
            </a:endParaRPr>
          </a:p>
        </p:txBody>
      </p:sp>
      <p:sp>
        <p:nvSpPr>
          <p:cNvPr id="132" name="Textfeld 163">
            <a:extLst>
              <a:ext uri="{FF2B5EF4-FFF2-40B4-BE49-F238E27FC236}">
                <a16:creationId xmlns:a16="http://schemas.microsoft.com/office/drawing/2014/main" id="{56567748-F1AC-BF1F-8930-AE2FB1821828}"/>
              </a:ext>
            </a:extLst>
          </p:cNvPr>
          <p:cNvSpPr txBox="1"/>
          <p:nvPr/>
        </p:nvSpPr>
        <p:spPr>
          <a:xfrm>
            <a:off x="8886079" y="5731019"/>
            <a:ext cx="1266891" cy="2769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buClr>
                <a:schemeClr val="tx2"/>
              </a:buClr>
              <a:buSzPct val="100000"/>
              <a:defRPr>
                <a:solidFill>
                  <a:srgbClr val="0478BE"/>
                </a:solidFill>
              </a:defRPr>
            </a:lvl1pPr>
          </a:lstStyle>
          <a:p>
            <a:r>
              <a:rPr lang="de-DE" sz="2299"/>
              <a:t>IP Network</a:t>
            </a:r>
          </a:p>
        </p:txBody>
      </p:sp>
      <p:sp>
        <p:nvSpPr>
          <p:cNvPr id="133" name="Sprechblase: rechteckig mit abgerundeten Ecken 3">
            <a:extLst>
              <a:ext uri="{FF2B5EF4-FFF2-40B4-BE49-F238E27FC236}">
                <a16:creationId xmlns:a16="http://schemas.microsoft.com/office/drawing/2014/main" id="{2D54E450-F6BC-A867-E9BB-D097B56449D7}"/>
              </a:ext>
            </a:extLst>
          </p:cNvPr>
          <p:cNvSpPr/>
          <p:nvPr/>
        </p:nvSpPr>
        <p:spPr>
          <a:xfrm>
            <a:off x="7563791" y="3912225"/>
            <a:ext cx="987179" cy="665174"/>
          </a:xfrm>
          <a:prstGeom prst="wedgeRoundRectCallout">
            <a:avLst>
              <a:gd name="adj1" fmla="val -92763"/>
              <a:gd name="adj2" fmla="val 2402"/>
              <a:gd name="adj3" fmla="val 16667"/>
            </a:avLst>
          </a:prstGeom>
          <a:solidFill>
            <a:srgbClr val="C8B4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/>
            <a:r>
              <a:rPr lang="en-US" sz="1200"/>
              <a:t>Mostly use case specific</a:t>
            </a:r>
          </a:p>
        </p:txBody>
      </p:sp>
      <p:sp>
        <p:nvSpPr>
          <p:cNvPr id="134" name="Textfeld 5">
            <a:extLst>
              <a:ext uri="{FF2B5EF4-FFF2-40B4-BE49-F238E27FC236}">
                <a16:creationId xmlns:a16="http://schemas.microsoft.com/office/drawing/2014/main" id="{1E938EE8-285C-6FE8-48E5-62C061074EB2}"/>
              </a:ext>
            </a:extLst>
          </p:cNvPr>
          <p:cNvSpPr txBox="1"/>
          <p:nvPr/>
        </p:nvSpPr>
        <p:spPr>
          <a:xfrm>
            <a:off x="4377751" y="2333035"/>
            <a:ext cx="2731743" cy="7059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en-US" sz="1200"/>
              <a:t>Examples:</a:t>
            </a:r>
          </a:p>
          <a:p>
            <a:pPr marL="143971" indent="-143971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en-US" sz="1200"/>
              <a:t>get information about quality of radio link</a:t>
            </a:r>
          </a:p>
          <a:p>
            <a:pPr marL="143971" indent="-143971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en-US" sz="1200"/>
              <a:t>set quality of service (QoS) requirements</a:t>
            </a:r>
          </a:p>
        </p:txBody>
      </p:sp>
    </p:spTree>
    <p:extLst>
      <p:ext uri="{BB962C8B-B14F-4D97-AF65-F5344CB8AC3E}">
        <p14:creationId xmlns:p14="http://schemas.microsoft.com/office/powerpoint/2010/main" val="24349605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E9347-8044-432D-B256-D117650E4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AVP – TARGET Archite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1E9B9-CE4D-2452-77DD-17882F1550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3</a:t>
            </a:fld>
            <a:endParaRPr lang="en-US" noProof="0" dirty="0"/>
          </a:p>
        </p:txBody>
      </p:sp>
      <p:pic>
        <p:nvPicPr>
          <p:cNvPr id="101" name="Graphic 100">
            <a:extLst>
              <a:ext uri="{FF2B5EF4-FFF2-40B4-BE49-F238E27FC236}">
                <a16:creationId xmlns:a16="http://schemas.microsoft.com/office/drawing/2014/main" id="{0C24D86D-EB19-875B-D9DD-BE807AE99E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39520" y="1188355"/>
            <a:ext cx="9317354" cy="4363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258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Benutzerdefiniert 4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lekom_Powerpoint-Master_HR_16x9_May_2018.potx" id="{C7665C40-6D48-4B43-B799-E5E80B2DB342}" vid="{B0F425BF-7E78-4EC3-88D0-188C03CDCBD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4AD662EB7A25499208DD4235E5F8D6" ma:contentTypeVersion="13" ma:contentTypeDescription="Create a new document." ma:contentTypeScope="" ma:versionID="7954dd45582a1fa00f8856c7db03e629">
  <xsd:schema xmlns:xsd="http://www.w3.org/2001/XMLSchema" xmlns:xs="http://www.w3.org/2001/XMLSchema" xmlns:p="http://schemas.microsoft.com/office/2006/metadata/properties" xmlns:ns2="6126070c-0864-4b03-b2dc-aab5d8c39348" xmlns:ns3="97396690-0b91-46d2-ad5a-06f45914e19c" targetNamespace="http://schemas.microsoft.com/office/2006/metadata/properties" ma:root="true" ma:fieldsID="5d92831fe8bbccf217d3c2ce5c621b97" ns2:_="" ns3:_="">
    <xsd:import namespace="6126070c-0864-4b03-b2dc-aab5d8c39348"/>
    <xsd:import namespace="97396690-0b91-46d2-ad5a-06f45914e1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26070c-0864-4b03-b2dc-aab5d8c393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396690-0b91-46d2-ad5a-06f45914e1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D1AC3C4-0789-4CF7-8D80-F36403D26E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26070c-0864-4b03-b2dc-aab5d8c39348"/>
    <ds:schemaRef ds:uri="97396690-0b91-46d2-ad5a-06f45914e1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0933C48-6EC2-4AEB-976A-1B2CCA3A8FF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CDADF9D-354C-4C6B-8B3E-4F82B69830EF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008</TotalTime>
  <Words>102</Words>
  <Application>Microsoft Macintosh PowerPoint</Application>
  <PresentationFormat>Custom</PresentationFormat>
  <Paragraphs>29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Tele-GroteskNor</vt:lpstr>
      <vt:lpstr>Tele-GroteskUlt</vt:lpstr>
      <vt:lpstr>TeleGrotesk Next</vt:lpstr>
      <vt:lpstr>TeleGrotesk Next Ultra</vt:lpstr>
      <vt:lpstr>TeleNeo Office</vt:lpstr>
      <vt:lpstr>Wingdings</vt:lpstr>
      <vt:lpstr>Wingdings 2</vt:lpstr>
      <vt:lpstr>Telekom 16:9 2016 EN</vt:lpstr>
      <vt:lpstr>think-cell Folie</vt:lpstr>
      <vt:lpstr>CAMARA QoD – AVP Use case</vt:lpstr>
      <vt:lpstr>Components of 5G network with exposure</vt:lpstr>
      <vt:lpstr>AVP – TARGET Architectur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Dsouza, Felix</dc:creator>
  <cp:keywords/>
  <dc:description/>
  <cp:lastModifiedBy>Jarzab, Marcin (ext)</cp:lastModifiedBy>
  <cp:revision>109</cp:revision>
  <dcterms:created xsi:type="dcterms:W3CDTF">2022-02-03T13:18:26Z</dcterms:created>
  <dcterms:modified xsi:type="dcterms:W3CDTF">2022-06-02T09:35:0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4AD662EB7A25499208DD4235E5F8D6</vt:lpwstr>
  </property>
</Properties>
</file>